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colors8.xml" ContentType="application/vnd.openxmlformats-officedocument.drawingml.diagramColor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Default Extension="xlsx" ContentType="application/vnd.openxmlformats-officedocument.spreadsheetml.sheet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theme/theme4.xml" ContentType="application/vnd.openxmlformats-officedocument.them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xls" ContentType="application/vnd.ms-excel"/>
  <Default Extension="rels" ContentType="application/vnd.openxmlformats-package.relationships+xml"/>
  <Override PartName="/ppt/slides/slide23.xml" ContentType="application/vnd.openxmlformats-officedocument.presentationml.slide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98" r:id="rId2"/>
  </p:sldMasterIdLst>
  <p:notesMasterIdLst>
    <p:notesMasterId r:id="rId42"/>
  </p:notesMasterIdLst>
  <p:handoutMasterIdLst>
    <p:handoutMasterId r:id="rId43"/>
  </p:handoutMasterIdLst>
  <p:sldIdLst>
    <p:sldId id="296" r:id="rId3"/>
    <p:sldId id="424" r:id="rId4"/>
    <p:sldId id="438" r:id="rId5"/>
    <p:sldId id="439" r:id="rId6"/>
    <p:sldId id="484" r:id="rId7"/>
    <p:sldId id="485" r:id="rId8"/>
    <p:sldId id="486" r:id="rId9"/>
    <p:sldId id="481" r:id="rId10"/>
    <p:sldId id="483" r:id="rId11"/>
    <p:sldId id="482" r:id="rId12"/>
    <p:sldId id="488" r:id="rId13"/>
    <p:sldId id="456" r:id="rId14"/>
    <p:sldId id="469" r:id="rId15"/>
    <p:sldId id="506" r:id="rId16"/>
    <p:sldId id="507" r:id="rId17"/>
    <p:sldId id="457" r:id="rId18"/>
    <p:sldId id="490" r:id="rId19"/>
    <p:sldId id="470" r:id="rId20"/>
    <p:sldId id="498" r:id="rId21"/>
    <p:sldId id="500" r:id="rId22"/>
    <p:sldId id="501" r:id="rId23"/>
    <p:sldId id="473" r:id="rId24"/>
    <p:sldId id="491" r:id="rId25"/>
    <p:sldId id="489" r:id="rId26"/>
    <p:sldId id="460" r:id="rId27"/>
    <p:sldId id="492" r:id="rId28"/>
    <p:sldId id="461" r:id="rId29"/>
    <p:sldId id="493" r:id="rId30"/>
    <p:sldId id="475" r:id="rId31"/>
    <p:sldId id="504" r:id="rId32"/>
    <p:sldId id="476" r:id="rId33"/>
    <p:sldId id="494" r:id="rId34"/>
    <p:sldId id="495" r:id="rId35"/>
    <p:sldId id="508" r:id="rId36"/>
    <p:sldId id="496" r:id="rId37"/>
    <p:sldId id="509" r:id="rId38"/>
    <p:sldId id="497" r:id="rId39"/>
    <p:sldId id="480" r:id="rId40"/>
    <p:sldId id="466" r:id="rId41"/>
  </p:sldIdLst>
  <p:sldSz cx="9144000" cy="6858000" type="screen4x3"/>
  <p:notesSz cx="6797675" cy="9926638"/>
  <p:custDataLst>
    <p:tags r:id="rId44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A7D7D"/>
    <a:srgbClr val="E41B09"/>
    <a:srgbClr val="F78909"/>
    <a:srgbClr val="FCCBCE"/>
    <a:srgbClr val="E4523B"/>
    <a:srgbClr val="FAA879"/>
    <a:srgbClr val="481B04"/>
    <a:srgbClr val="4A280C"/>
    <a:srgbClr val="F75A22"/>
    <a:srgbClr val="8000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3348" autoAdjust="0"/>
    <p:restoredTop sz="99600" autoAdjust="0"/>
  </p:normalViewPr>
  <p:slideViewPr>
    <p:cSldViewPr snapToGrid="0">
      <p:cViewPr varScale="1">
        <p:scale>
          <a:sx n="88" d="100"/>
          <a:sy n="88" d="100"/>
        </p:scale>
        <p:origin x="-1373" y="-8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1" d="100"/>
          <a:sy n="61" d="100"/>
        </p:scale>
        <p:origin x="-3274" y="-101"/>
      </p:cViewPr>
      <p:guideLst>
        <p:guide orient="horz" pos="3126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 smtClean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 smtClean="0"/>
            <a:t>Rapport financier de l’année 2016-2017</a:t>
          </a:r>
          <a:endParaRPr lang="fr-FR" dirty="0"/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 smtClean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 smtClean="0"/>
            <a:t>Budget de l’année 2017-2018</a:t>
          </a:r>
          <a:endParaRPr lang="fr-FR" dirty="0"/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83D21C19-9BBA-47CD-A28C-78897E292876}">
      <dgm:prSet/>
      <dgm:spPr/>
      <dgm:t>
        <a:bodyPr/>
        <a:lstStyle/>
        <a:p>
          <a:r>
            <a:rPr lang="fr-FR" dirty="0" smtClean="0"/>
            <a:t>Présentation du Partenariat avec « LA RESIDENCE »</a:t>
          </a:r>
          <a:endParaRPr lang="fr-FR" dirty="0"/>
        </a:p>
      </dgm:t>
    </dgm:pt>
    <dgm:pt modelId="{F9DB217B-EB6D-4135-A0AB-5FC58BB54940}" type="parTrans" cxnId="{A7094E9D-F5FE-495F-B0F2-32CEF9128CBD}">
      <dgm:prSet/>
      <dgm:spPr/>
      <dgm:t>
        <a:bodyPr/>
        <a:lstStyle/>
        <a:p>
          <a:endParaRPr lang="fr-FR"/>
        </a:p>
      </dgm:t>
    </dgm:pt>
    <dgm:pt modelId="{2147E029-686C-49DF-B4DE-CF8BF24A4A37}" type="sibTrans" cxnId="{A7094E9D-F5FE-495F-B0F2-32CEF9128CBD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 smtClean="0"/>
            <a:t>Interventions des Invités présents</a:t>
          </a:r>
          <a:endParaRPr lang="fr-FR" dirty="0"/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smtClean="0"/>
            <a:t>Les rendez-vous 2016-2017</a:t>
          </a:r>
          <a:endParaRPr lang="fr-FR" dirty="0" smtClean="0"/>
        </a:p>
      </dgm:t>
    </dgm:pt>
    <dgm:pt modelId="{57F13D37-A893-4898-8E27-67A829686B6A}" type="parTrans" cxnId="{051A02E2-A13E-46A9-94BA-D97943568D2C}">
      <dgm:prSet/>
      <dgm:spPr/>
    </dgm:pt>
    <dgm:pt modelId="{2E2E54F7-C5CC-4881-AD5B-155C1DBB1F1E}" type="sibTrans" cxnId="{051A02E2-A13E-46A9-94BA-D97943568D2C}">
      <dgm:prSet/>
      <dgm:spPr/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43AFC4E7-46DA-4B7B-B201-0A406A05CAD2}" type="pres">
      <dgm:prSet presAssocID="{F010CF21-4A6D-44EF-A02C-3D5169816247}" presName="Name1" presStyleCnt="0"/>
      <dgm:spPr/>
      <dgm:t>
        <a:bodyPr/>
        <a:lstStyle/>
        <a:p>
          <a:endParaRPr lang="fr-FR"/>
        </a:p>
      </dgm:t>
    </dgm:pt>
    <dgm:pt modelId="{C89A3969-C068-41DF-977E-ED5F7B6D0CE6}" type="pres">
      <dgm:prSet presAssocID="{F010CF21-4A6D-44EF-A02C-3D5169816247}" presName="cycle" presStyleCnt="0"/>
      <dgm:spPr/>
      <dgm:t>
        <a:bodyPr/>
        <a:lstStyle/>
        <a:p>
          <a:endParaRPr lang="fr-FR"/>
        </a:p>
      </dgm:t>
    </dgm:pt>
    <dgm:pt modelId="{36B09AF6-20B6-459B-86E4-BA1ECCD29B61}" type="pres">
      <dgm:prSet presAssocID="{F010CF21-4A6D-44EF-A02C-3D5169816247}" presName="srcNode" presStyleLbl="node1" presStyleIdx="0" presStyleCnt="7"/>
      <dgm:spPr/>
      <dgm:t>
        <a:bodyPr/>
        <a:lstStyle/>
        <a:p>
          <a:endParaRPr lang="fr-FR"/>
        </a:p>
      </dgm:t>
    </dgm:pt>
    <dgm:pt modelId="{6940BDDF-1FEF-41BF-B9E9-0FFE3926A970}" type="pres">
      <dgm:prSet presAssocID="{F010CF21-4A6D-44EF-A02C-3D5169816247}" presName="conn" presStyleLbl="parChTrans1D2" presStyleIdx="0" presStyleCnt="1"/>
      <dgm:spPr/>
      <dgm:t>
        <a:bodyPr/>
        <a:lstStyle/>
        <a:p>
          <a:endParaRPr lang="fr-FR"/>
        </a:p>
      </dgm:t>
    </dgm:pt>
    <dgm:pt modelId="{CF948C64-B606-46D3-AF0E-5C95CC7F1D42}" type="pres">
      <dgm:prSet presAssocID="{F010CF21-4A6D-44EF-A02C-3D5169816247}" presName="extraNode" presStyleLbl="node1" presStyleIdx="0" presStyleCnt="7"/>
      <dgm:spPr/>
      <dgm:t>
        <a:bodyPr/>
        <a:lstStyle/>
        <a:p>
          <a:endParaRPr lang="fr-FR"/>
        </a:p>
      </dgm:t>
    </dgm:pt>
    <dgm:pt modelId="{4485BF69-EF87-4AEE-AFDF-DE2F8D2ACCD9}" type="pres">
      <dgm:prSet presAssocID="{F010CF21-4A6D-44EF-A02C-3D5169816247}" presName="dstNode" presStyleLbl="node1" presStyleIdx="0" presStyleCnt="7"/>
      <dgm:spPr/>
      <dgm:t>
        <a:bodyPr/>
        <a:lstStyle/>
        <a:p>
          <a:endParaRPr lang="fr-FR"/>
        </a:p>
      </dgm:t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97C5B-BA88-4603-BEB8-816B9E26E1E0}" type="pres">
      <dgm:prSet presAssocID="{59788018-3182-43A3-8988-94BE0745A02A}" presName="accent_1" presStyleCnt="0"/>
      <dgm:spPr/>
      <dgm:t>
        <a:bodyPr/>
        <a:lstStyle/>
        <a:p>
          <a:endParaRPr lang="fr-FR"/>
        </a:p>
      </dgm:t>
    </dgm:pt>
    <dgm:pt modelId="{EBBCF617-4DDB-47D0-98C7-99413FA904B7}" type="pres">
      <dgm:prSet presAssocID="{59788018-3182-43A3-8988-94BE0745A02A}" presName="accentRepeatNode" presStyleLbl="solidFgAcc1" presStyleIdx="0" presStyleCnt="7"/>
      <dgm:spPr/>
      <dgm:t>
        <a:bodyPr/>
        <a:lstStyle/>
        <a:p>
          <a:endParaRPr lang="fr-FR"/>
        </a:p>
      </dgm:t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100F7-B06F-4D61-8952-72DDA3F196CC}" type="pres">
      <dgm:prSet presAssocID="{B9A48CF8-D428-45D1-8969-FBBF15BE7DBA}" presName="accent_2" presStyleCnt="0"/>
      <dgm:spPr/>
      <dgm:t>
        <a:bodyPr/>
        <a:lstStyle/>
        <a:p>
          <a:endParaRPr lang="fr-FR"/>
        </a:p>
      </dgm:t>
    </dgm:pt>
    <dgm:pt modelId="{7A113706-4115-4E46-A0DB-BB2E4C947383}" type="pres">
      <dgm:prSet presAssocID="{B9A48CF8-D428-45D1-8969-FBBF15BE7DBA}" presName="accentRepeatNode" presStyleLbl="solidFgAcc1" presStyleIdx="1" presStyleCnt="7"/>
      <dgm:spPr/>
      <dgm:t>
        <a:bodyPr/>
        <a:lstStyle/>
        <a:p>
          <a:endParaRPr lang="fr-FR"/>
        </a:p>
      </dgm:t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61BC4-D00A-48CE-8C8A-EEF31BA7E3DC}" type="pres">
      <dgm:prSet presAssocID="{2950704D-F612-46DF-93DB-38562274CE0A}" presName="accent_3" presStyleCnt="0"/>
      <dgm:spPr/>
      <dgm:t>
        <a:bodyPr/>
        <a:lstStyle/>
        <a:p>
          <a:endParaRPr lang="fr-FR"/>
        </a:p>
      </dgm:t>
    </dgm:pt>
    <dgm:pt modelId="{0692BF8D-B063-4580-8A2D-225A14481CCD}" type="pres">
      <dgm:prSet presAssocID="{2950704D-F612-46DF-93DB-38562274CE0A}" presName="accentRepeatNode" presStyleLbl="solidFgAcc1" presStyleIdx="2" presStyleCnt="7"/>
      <dgm:spPr/>
      <dgm:t>
        <a:bodyPr/>
        <a:lstStyle/>
        <a:p>
          <a:endParaRPr lang="fr-FR"/>
        </a:p>
      </dgm:t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  <dgm:t>
        <a:bodyPr/>
        <a:lstStyle/>
        <a:p>
          <a:endParaRPr lang="fr-FR"/>
        </a:p>
      </dgm:t>
    </dgm:pt>
    <dgm:pt modelId="{90DEF82D-19AE-4AD6-85C9-882AA6979A47}" type="pres">
      <dgm:prSet presAssocID="{83D21C19-9BBA-47CD-A28C-78897E292876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4443A18-902C-46C8-9159-72852470E469}" type="pres">
      <dgm:prSet presAssocID="{83D21C19-9BBA-47CD-A28C-78897E292876}" presName="accent_6" presStyleCnt="0"/>
      <dgm:spPr/>
    </dgm:pt>
    <dgm:pt modelId="{5B1F49EF-F46F-4EB0-87B2-B210B7586130}" type="pres">
      <dgm:prSet presAssocID="{83D21C19-9BBA-47CD-A28C-78897E292876}" presName="accentRepeatNode" presStyleLbl="solidFgAcc1" presStyleIdx="5" presStyleCnt="7"/>
      <dgm:spPr/>
    </dgm:pt>
    <dgm:pt modelId="{BF5F14BC-780E-439D-8CCE-B939CA6246CF}" type="pres">
      <dgm:prSet presAssocID="{414797EB-74B4-4291-AF3E-06BCA64CF6B6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C39E1B9-7EF7-4037-AC94-A53D7AE2CF83}" type="pres">
      <dgm:prSet presAssocID="{414797EB-74B4-4291-AF3E-06BCA64CF6B6}" presName="accent_7" presStyleCnt="0"/>
      <dgm:spPr/>
    </dgm:pt>
    <dgm:pt modelId="{5AF5E7EE-A04D-40FC-8300-CF20EEE80831}" type="pres">
      <dgm:prSet presAssocID="{414797EB-74B4-4291-AF3E-06BCA64CF6B6}" presName="accentRepeatNode" presStyleLbl="solidFgAcc1" presStyleIdx="6" presStyleCnt="7"/>
      <dgm:spPr/>
    </dgm:pt>
  </dgm:ptLst>
  <dgm:cxnLst>
    <dgm:cxn modelId="{CA3C202C-03DC-414C-96AB-801EDBB35DBC}" type="presOf" srcId="{5304307F-C466-4740-8475-DADC91075624}" destId="{A130CA03-71CB-414D-840B-5B6A74283EA0}" srcOrd="0" destOrd="0" presId="urn:microsoft.com/office/officeart/2008/layout/VerticalCurvedList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0281512C-E79C-4333-9D56-2A66E949228F}" srcId="{F010CF21-4A6D-44EF-A02C-3D5169816247}" destId="{414797EB-74B4-4291-AF3E-06BCA64CF6B6}" srcOrd="6" destOrd="0" parTransId="{D9EEC982-6F8E-415B-9E6B-101927331BD8}" sibTransId="{3124CA87-5240-449D-93B8-646AA320F84C}"/>
    <dgm:cxn modelId="{EEC29124-EB80-4F12-8AFF-AC8B595E0192}" type="presOf" srcId="{2950704D-F612-46DF-93DB-38562274CE0A}" destId="{CD0934E8-FFC7-4C4F-89BE-AC8E748C473B}" srcOrd="0" destOrd="0" presId="urn:microsoft.com/office/officeart/2008/layout/VerticalCurvedList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3278C1AA-E75C-4A24-8172-198DFA59787F}" type="presOf" srcId="{83D21C19-9BBA-47CD-A28C-78897E292876}" destId="{90DEF82D-19AE-4AD6-85C9-882AA6979A47}" srcOrd="0" destOrd="0" presId="urn:microsoft.com/office/officeart/2008/layout/VerticalCurvedList"/>
    <dgm:cxn modelId="{951EF2D1-FE58-4F1C-B2B8-BB0DE52CDA46}" type="presOf" srcId="{445F633E-575C-4AF5-92DD-A71CC7C927A2}" destId="{21DC1980-00DC-4CF7-95B2-732EEE3E3F6A}" srcOrd="0" destOrd="0" presId="urn:microsoft.com/office/officeart/2008/layout/VerticalCurvedList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D46D2F98-581C-453E-92B6-BB4DC1420FB2}" type="presOf" srcId="{414797EB-74B4-4291-AF3E-06BCA64CF6B6}" destId="{BF5F14BC-780E-439D-8CCE-B939CA6246CF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CFED395B-78F0-446A-ACC6-972111EC5033}" type="presOf" srcId="{B9A48CF8-D428-45D1-8969-FBBF15BE7DBA}" destId="{B33E6E9D-CEE0-4253-A8E7-0BD98EFB662C}" srcOrd="0" destOrd="0" presId="urn:microsoft.com/office/officeart/2008/layout/VerticalCurvedList"/>
    <dgm:cxn modelId="{A7094E9D-F5FE-495F-B0F2-32CEF9128CBD}" srcId="{F010CF21-4A6D-44EF-A02C-3D5169816247}" destId="{83D21C19-9BBA-47CD-A28C-78897E292876}" srcOrd="5" destOrd="0" parTransId="{F9DB217B-EB6D-4135-A0AB-5FC58BB54940}" sibTransId="{2147E029-686C-49DF-B4DE-CF8BF24A4A37}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80C35DAC-CBFB-4E5C-9F8F-ED6B6AC1A088}" type="presParOf" srcId="{43AFC4E7-46DA-4B7B-B201-0A406A05CAD2}" destId="{B33E6E9D-CEE0-4253-A8E7-0BD98EFB662C}" srcOrd="3" destOrd="0" presId="urn:microsoft.com/office/officeart/2008/layout/VerticalCurvedList"/>
    <dgm:cxn modelId="{BC7448D4-5FAE-4FE9-A263-DFE11F461FA0}" type="presParOf" srcId="{43AFC4E7-46DA-4B7B-B201-0A406A05CAD2}" destId="{0C3100F7-B06F-4D61-8952-72DDA3F196CC}" srcOrd="4" destOrd="0" presId="urn:microsoft.com/office/officeart/2008/layout/VerticalCurvedList"/>
    <dgm:cxn modelId="{69E5BCA8-649E-45D6-B7EE-52A904BB1E9A}" type="presParOf" srcId="{0C3100F7-B06F-4D61-8952-72DDA3F196CC}" destId="{7A113706-4115-4E46-A0DB-BB2E4C947383}" srcOrd="0" destOrd="0" presId="urn:microsoft.com/office/officeart/2008/layout/VerticalCurvedList"/>
    <dgm:cxn modelId="{94030337-B533-4D55-93FB-0638FF634A8E}" type="presParOf" srcId="{43AFC4E7-46DA-4B7B-B201-0A406A05CAD2}" destId="{CD0934E8-FFC7-4C4F-89BE-AC8E748C473B}" srcOrd="5" destOrd="0" presId="urn:microsoft.com/office/officeart/2008/layout/VerticalCurvedList"/>
    <dgm:cxn modelId="{3068500E-4AE6-4012-B329-3CEDB4986D2B}" type="presParOf" srcId="{43AFC4E7-46DA-4B7B-B201-0A406A05CAD2}" destId="{E9561BC4-D00A-48CE-8C8A-EEF31BA7E3DC}" srcOrd="6" destOrd="0" presId="urn:microsoft.com/office/officeart/2008/layout/VerticalCurvedList"/>
    <dgm:cxn modelId="{3EBB3BD1-9955-4678-9878-D7F0379BB321}" type="presParOf" srcId="{E9561BC4-D00A-48CE-8C8A-EEF31BA7E3DC}" destId="{0692BF8D-B063-4580-8A2D-225A14481CCD}" srcOrd="0" destOrd="0" presId="urn:microsoft.com/office/officeart/2008/layout/VerticalCurvedList"/>
    <dgm:cxn modelId="{20BAB0F8-3D1C-4E16-9625-D13E48746E83}" type="presParOf" srcId="{43AFC4E7-46DA-4B7B-B201-0A406A05CAD2}" destId="{A130CA03-71CB-414D-840B-5B6A74283EA0}" srcOrd="7" destOrd="0" presId="urn:microsoft.com/office/officeart/2008/layout/VerticalCurvedList"/>
    <dgm:cxn modelId="{67262A83-8B8E-4A4B-8C6C-9C292F5A8586}" type="presParOf" srcId="{43AFC4E7-46DA-4B7B-B201-0A406A05CAD2}" destId="{D937CBB2-ED3F-4237-9CE7-8530AF6E9C0D}" srcOrd="8" destOrd="0" presId="urn:microsoft.com/office/officeart/2008/layout/VerticalCurvedList"/>
    <dgm:cxn modelId="{7751C83B-3E5D-4AEA-99DD-865FE86EDBD2}" type="presParOf" srcId="{D937CBB2-ED3F-4237-9CE7-8530AF6E9C0D}" destId="{D60F798E-526C-4126-9782-B35CCE9CE8B1}" srcOrd="0" destOrd="0" presId="urn:microsoft.com/office/officeart/2008/layout/VerticalCurvedList"/>
    <dgm:cxn modelId="{7A19E96A-DDDD-46B7-AE78-C549CCB96C8B}" type="presParOf" srcId="{43AFC4E7-46DA-4B7B-B201-0A406A05CAD2}" destId="{21DC1980-00DC-4CF7-95B2-732EEE3E3F6A}" srcOrd="9" destOrd="0" presId="urn:microsoft.com/office/officeart/2008/layout/VerticalCurvedList"/>
    <dgm:cxn modelId="{80666BF2-C987-4064-AB37-458FBB483E70}" type="presParOf" srcId="{43AFC4E7-46DA-4B7B-B201-0A406A05CAD2}" destId="{52DDB14D-B001-4BDB-B2BD-E4F4785CF4F4}" srcOrd="10" destOrd="0" presId="urn:microsoft.com/office/officeart/2008/layout/VerticalCurvedList"/>
    <dgm:cxn modelId="{047EC53C-7792-4180-A36A-C3661F9B0960}" type="presParOf" srcId="{52DDB14D-B001-4BDB-B2BD-E4F4785CF4F4}" destId="{1CAC461D-769E-43F1-85D8-A86E37EE9368}" srcOrd="0" destOrd="0" presId="urn:microsoft.com/office/officeart/2008/layout/VerticalCurvedList"/>
    <dgm:cxn modelId="{E598B355-FD78-4B67-84AF-34E2549F0F90}" type="presParOf" srcId="{43AFC4E7-46DA-4B7B-B201-0A406A05CAD2}" destId="{90DEF82D-19AE-4AD6-85C9-882AA6979A47}" srcOrd="11" destOrd="0" presId="urn:microsoft.com/office/officeart/2008/layout/VerticalCurvedList"/>
    <dgm:cxn modelId="{A17A9F6F-7E84-44B9-9A05-8DBCECD9FE29}" type="presParOf" srcId="{43AFC4E7-46DA-4B7B-B201-0A406A05CAD2}" destId="{24443A18-902C-46C8-9159-72852470E469}" srcOrd="12" destOrd="0" presId="urn:microsoft.com/office/officeart/2008/layout/VerticalCurvedList"/>
    <dgm:cxn modelId="{C822F455-EA14-4FAE-A2C7-F5DAAA85D446}" type="presParOf" srcId="{24443A18-902C-46C8-9159-72852470E469}" destId="{5B1F49EF-F46F-4EB0-87B2-B210B7586130}" srcOrd="0" destOrd="0" presId="urn:microsoft.com/office/officeart/2008/layout/VerticalCurvedList"/>
    <dgm:cxn modelId="{30E9383D-E660-4608-B5C8-B38ED582D871}" type="presParOf" srcId="{43AFC4E7-46DA-4B7B-B201-0A406A05CAD2}" destId="{BF5F14BC-780E-439D-8CCE-B939CA6246CF}" srcOrd="13" destOrd="0" presId="urn:microsoft.com/office/officeart/2008/layout/VerticalCurvedList"/>
    <dgm:cxn modelId="{02A1D0AD-9DA6-475D-BE49-DF117390C6D5}" type="presParOf" srcId="{43AFC4E7-46DA-4B7B-B201-0A406A05CAD2}" destId="{9C39E1B9-7EF7-4037-AC94-A53D7AE2CF83}" srcOrd="14" destOrd="0" presId="urn:microsoft.com/office/officeart/2008/layout/VerticalCurvedList"/>
    <dgm:cxn modelId="{529AF4A4-F919-4FEF-B667-F97B8078BA59}" type="presParOf" srcId="{9C39E1B9-7EF7-4037-AC94-A53D7AE2CF83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B03CF0E-FEA8-4859-918D-9805BDB59610}" type="doc">
      <dgm:prSet loTypeId="urn:microsoft.com/office/officeart/2005/8/layout/h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2595C9AD-CC1A-4C7F-B0D8-CC5A1B98064E}">
      <dgm:prSet phldrT="[Texte]"/>
      <dgm:spPr/>
      <dgm:t>
        <a:bodyPr/>
        <a:lstStyle/>
        <a:p>
          <a:r>
            <a:rPr lang="fr-FR" dirty="0" smtClean="0"/>
            <a:t> </a:t>
          </a:r>
          <a:endParaRPr lang="fr-FR" dirty="0"/>
        </a:p>
      </dgm:t>
    </dgm:pt>
    <dgm:pt modelId="{CB1B262F-F9A6-496F-A4DB-86F4829819A3}" type="parTrans" cxnId="{4D91A7EA-841A-48C4-A95E-1CFEFF8E1D09}">
      <dgm:prSet/>
      <dgm:spPr/>
      <dgm:t>
        <a:bodyPr/>
        <a:lstStyle/>
        <a:p>
          <a:endParaRPr lang="fr-FR"/>
        </a:p>
      </dgm:t>
    </dgm:pt>
    <dgm:pt modelId="{59682239-565E-4215-9C00-5409EB9713E8}" type="sibTrans" cxnId="{4D91A7EA-841A-48C4-A95E-1CFEFF8E1D09}">
      <dgm:prSet/>
      <dgm:spPr/>
      <dgm:t>
        <a:bodyPr/>
        <a:lstStyle/>
        <a:p>
          <a:endParaRPr lang="fr-FR"/>
        </a:p>
      </dgm:t>
    </dgm:pt>
    <dgm:pt modelId="{E06B3976-0B58-41BF-A307-220F72DD6781}">
      <dgm:prSet phldrT="[Texte]"/>
      <dgm:spPr/>
      <dgm:t>
        <a:bodyPr/>
        <a:lstStyle/>
        <a:p>
          <a:r>
            <a:rPr lang="fr-FR" dirty="0" smtClean="0"/>
            <a:t>Optimiser le fonctionnement du CA</a:t>
          </a:r>
          <a:endParaRPr lang="fr-FR" dirty="0"/>
        </a:p>
      </dgm:t>
    </dgm:pt>
    <dgm:pt modelId="{6764EB74-1E73-470E-85F0-E088E8AF2D72}" type="parTrans" cxnId="{382892B8-B9B6-4A26-927B-3E38AD2B64C0}">
      <dgm:prSet/>
      <dgm:spPr/>
      <dgm:t>
        <a:bodyPr/>
        <a:lstStyle/>
        <a:p>
          <a:endParaRPr lang="fr-FR"/>
        </a:p>
      </dgm:t>
    </dgm:pt>
    <dgm:pt modelId="{680541D5-369B-4BAC-9469-F7796ADA8A12}" type="sibTrans" cxnId="{382892B8-B9B6-4A26-927B-3E38AD2B64C0}">
      <dgm:prSet/>
      <dgm:spPr/>
      <dgm:t>
        <a:bodyPr/>
        <a:lstStyle/>
        <a:p>
          <a:endParaRPr lang="fr-FR"/>
        </a:p>
      </dgm:t>
    </dgm:pt>
    <dgm:pt modelId="{CF729B76-4A2A-4747-BD77-B15E6A3A0763}">
      <dgm:prSet phldrT="[Texte]"/>
      <dgm:spPr/>
      <dgm:t>
        <a:bodyPr/>
        <a:lstStyle/>
        <a:p>
          <a:r>
            <a:rPr lang="fr-FR" dirty="0" smtClean="0"/>
            <a:t>Externaliser les paies</a:t>
          </a:r>
          <a:endParaRPr lang="fr-FR" dirty="0"/>
        </a:p>
      </dgm:t>
    </dgm:pt>
    <dgm:pt modelId="{234134E5-F7EC-48B1-9EF2-D9261726D91C}" type="parTrans" cxnId="{72F681FC-F238-4439-B047-E95ECE0C9ECC}">
      <dgm:prSet/>
      <dgm:spPr/>
      <dgm:t>
        <a:bodyPr/>
        <a:lstStyle/>
        <a:p>
          <a:endParaRPr lang="fr-FR"/>
        </a:p>
      </dgm:t>
    </dgm:pt>
    <dgm:pt modelId="{7531C21C-C433-4BEB-9CF3-D2623E8DF7FD}" type="sibTrans" cxnId="{72F681FC-F238-4439-B047-E95ECE0C9ECC}">
      <dgm:prSet/>
      <dgm:spPr/>
      <dgm:t>
        <a:bodyPr/>
        <a:lstStyle/>
        <a:p>
          <a:endParaRPr lang="fr-FR"/>
        </a:p>
      </dgm:t>
    </dgm:pt>
    <dgm:pt modelId="{5CF59008-0D9E-4C5C-A75C-C5872D386964}">
      <dgm:prSet phldrT="[Texte]"/>
      <dgm:spPr/>
      <dgm:t>
        <a:bodyPr/>
        <a:lstStyle/>
        <a:p>
          <a:r>
            <a:rPr lang="fr-FR" dirty="0" smtClean="0"/>
            <a:t>Développer la compétition</a:t>
          </a:r>
          <a:endParaRPr lang="fr-FR" dirty="0"/>
        </a:p>
      </dgm:t>
    </dgm:pt>
    <dgm:pt modelId="{C6500813-0B0B-4F41-B547-92267C55EF80}" type="parTrans" cxnId="{EB192724-64FB-4DF7-9761-8DF8B7344E0A}">
      <dgm:prSet/>
      <dgm:spPr/>
      <dgm:t>
        <a:bodyPr/>
        <a:lstStyle/>
        <a:p>
          <a:endParaRPr lang="fr-FR"/>
        </a:p>
      </dgm:t>
    </dgm:pt>
    <dgm:pt modelId="{7B90745E-445A-4407-BCDA-C96C551F98C8}" type="sibTrans" cxnId="{EB192724-64FB-4DF7-9761-8DF8B7344E0A}">
      <dgm:prSet/>
      <dgm:spPr/>
      <dgm:t>
        <a:bodyPr/>
        <a:lstStyle/>
        <a:p>
          <a:endParaRPr lang="fr-FR"/>
        </a:p>
      </dgm:t>
    </dgm:pt>
    <dgm:pt modelId="{FD7B4089-08F5-4F1A-862E-3A11A01CC3C8}">
      <dgm:prSet phldrT="[Texte]"/>
      <dgm:spPr/>
      <dgm:t>
        <a:bodyPr/>
        <a:lstStyle/>
        <a:p>
          <a:r>
            <a:rPr lang="fr-FR" dirty="0" smtClean="0"/>
            <a:t>Administrer et faire vivre le site Web et la page </a:t>
          </a:r>
          <a:r>
            <a:rPr lang="fr-FR" dirty="0" err="1" smtClean="0"/>
            <a:t>Facebook</a:t>
          </a:r>
          <a:endParaRPr lang="fr-FR" dirty="0"/>
        </a:p>
      </dgm:t>
    </dgm:pt>
    <dgm:pt modelId="{8B30FCCB-73DA-4232-9B25-BA877E2B0576}" type="parTrans" cxnId="{4313A1A5-6F89-454A-8108-CE50BFFE4EDB}">
      <dgm:prSet/>
      <dgm:spPr/>
      <dgm:t>
        <a:bodyPr/>
        <a:lstStyle/>
        <a:p>
          <a:endParaRPr lang="fr-FR"/>
        </a:p>
      </dgm:t>
    </dgm:pt>
    <dgm:pt modelId="{D91891E4-DD42-4E2D-8012-55B1EA027692}" type="sibTrans" cxnId="{4313A1A5-6F89-454A-8108-CE50BFFE4EDB}">
      <dgm:prSet/>
      <dgm:spPr/>
      <dgm:t>
        <a:bodyPr/>
        <a:lstStyle/>
        <a:p>
          <a:endParaRPr lang="fr-FR"/>
        </a:p>
      </dgm:t>
    </dgm:pt>
    <dgm:pt modelId="{66B53DBF-8335-4235-80C1-00F99356BF78}">
      <dgm:prSet phldrT="[Texte]"/>
      <dgm:spPr/>
      <dgm:t>
        <a:bodyPr/>
        <a:lstStyle/>
        <a:p>
          <a:r>
            <a:rPr lang="fr-FR" dirty="0" smtClean="0"/>
            <a:t>Construire un plan de formation </a:t>
          </a:r>
          <a:endParaRPr lang="fr-FR" dirty="0"/>
        </a:p>
      </dgm:t>
    </dgm:pt>
    <dgm:pt modelId="{C4B6BD43-491E-499E-BFFD-2824DE10C045}" type="parTrans" cxnId="{BF5EB612-3ECD-43F6-B537-7BC75C94B6FD}">
      <dgm:prSet/>
      <dgm:spPr/>
      <dgm:t>
        <a:bodyPr/>
        <a:lstStyle/>
        <a:p>
          <a:endParaRPr lang="fr-FR"/>
        </a:p>
      </dgm:t>
    </dgm:pt>
    <dgm:pt modelId="{D53FC8CD-D782-4286-9AA3-28BB244A2871}" type="sibTrans" cxnId="{BF5EB612-3ECD-43F6-B537-7BC75C94B6FD}">
      <dgm:prSet/>
      <dgm:spPr/>
      <dgm:t>
        <a:bodyPr/>
        <a:lstStyle/>
        <a:p>
          <a:endParaRPr lang="fr-FR"/>
        </a:p>
      </dgm:t>
    </dgm:pt>
    <dgm:pt modelId="{BDAF8B72-A9C1-4F73-9515-E04B579A3BE9}">
      <dgm:prSet/>
      <dgm:spPr/>
      <dgm:t>
        <a:bodyPr/>
        <a:lstStyle/>
        <a:p>
          <a:r>
            <a:rPr lang="fr-FR" dirty="0" smtClean="0"/>
            <a:t>Construire un plan d’investissement matériel</a:t>
          </a:r>
          <a:endParaRPr lang="fr-FR" dirty="0"/>
        </a:p>
      </dgm:t>
    </dgm:pt>
    <dgm:pt modelId="{3646D031-483A-4050-8024-9A90FC88F520}" type="parTrans" cxnId="{15246440-03D7-4D0D-88EA-FC83DD5EF20F}">
      <dgm:prSet/>
      <dgm:spPr/>
      <dgm:t>
        <a:bodyPr/>
        <a:lstStyle/>
        <a:p>
          <a:endParaRPr lang="fr-FR"/>
        </a:p>
      </dgm:t>
    </dgm:pt>
    <dgm:pt modelId="{1A6CFBDA-5319-4709-BA81-9EBB02F72D68}" type="sibTrans" cxnId="{15246440-03D7-4D0D-88EA-FC83DD5EF20F}">
      <dgm:prSet/>
      <dgm:spPr/>
      <dgm:t>
        <a:bodyPr/>
        <a:lstStyle/>
        <a:p>
          <a:endParaRPr lang="fr-FR"/>
        </a:p>
      </dgm:t>
    </dgm:pt>
    <dgm:pt modelId="{A467EB82-4A86-4321-932A-BC71C5A9A799}">
      <dgm:prSet/>
      <dgm:spPr/>
      <dgm:t>
        <a:bodyPr/>
        <a:lstStyle/>
        <a:p>
          <a:r>
            <a:rPr lang="fr-FR" dirty="0" smtClean="0"/>
            <a:t>Trouver un sponsor</a:t>
          </a:r>
          <a:endParaRPr lang="fr-FR" dirty="0"/>
        </a:p>
      </dgm:t>
    </dgm:pt>
    <dgm:pt modelId="{3EFC4B38-06B1-4279-9AE7-46F0FD610724}" type="parTrans" cxnId="{5809C2F5-5960-4EFF-A6DB-EB234DC923E4}">
      <dgm:prSet/>
      <dgm:spPr/>
      <dgm:t>
        <a:bodyPr/>
        <a:lstStyle/>
        <a:p>
          <a:endParaRPr lang="fr-FR"/>
        </a:p>
      </dgm:t>
    </dgm:pt>
    <dgm:pt modelId="{7B77D74D-9DA5-4258-9FE0-EC7C1232245B}" type="sibTrans" cxnId="{5809C2F5-5960-4EFF-A6DB-EB234DC923E4}">
      <dgm:prSet/>
      <dgm:spPr/>
      <dgm:t>
        <a:bodyPr/>
        <a:lstStyle/>
        <a:p>
          <a:endParaRPr lang="fr-FR"/>
        </a:p>
      </dgm:t>
    </dgm:pt>
    <dgm:pt modelId="{9F40E5E0-78B2-4FC9-A96D-A3696CDB690E}">
      <dgm:prSet phldrT="[Texte]"/>
      <dgm:spPr/>
      <dgm:t>
        <a:bodyPr/>
        <a:lstStyle/>
        <a:p>
          <a:r>
            <a:rPr lang="fr-FR" dirty="0" smtClean="0"/>
            <a:t>Avoir 75 adhérents en GAM</a:t>
          </a:r>
          <a:endParaRPr lang="fr-FR" dirty="0"/>
        </a:p>
      </dgm:t>
    </dgm:pt>
    <dgm:pt modelId="{7128D2E1-5E72-4415-BC20-F62A578B3182}" type="parTrans" cxnId="{B8D845A8-08C4-4ACB-A762-E8B02A32360E}">
      <dgm:prSet/>
      <dgm:spPr/>
      <dgm:t>
        <a:bodyPr/>
        <a:lstStyle/>
        <a:p>
          <a:endParaRPr lang="fr-FR"/>
        </a:p>
      </dgm:t>
    </dgm:pt>
    <dgm:pt modelId="{C54E64E1-F017-4379-BEF7-69295867A7DA}" type="sibTrans" cxnId="{B8D845A8-08C4-4ACB-A762-E8B02A32360E}">
      <dgm:prSet/>
      <dgm:spPr/>
      <dgm:t>
        <a:bodyPr/>
        <a:lstStyle/>
        <a:p>
          <a:endParaRPr lang="fr-FR"/>
        </a:p>
      </dgm:t>
    </dgm:pt>
    <dgm:pt modelId="{967D03B3-A4F1-4D29-A7F3-99703CDA2F37}">
      <dgm:prSet/>
      <dgm:spPr/>
      <dgm:t>
        <a:bodyPr/>
        <a:lstStyle/>
        <a:p>
          <a:r>
            <a:rPr lang="fr-FR" dirty="0" smtClean="0"/>
            <a:t>Faire 2 tournois internes.</a:t>
          </a:r>
          <a:endParaRPr lang="fr-FR" dirty="0"/>
        </a:p>
      </dgm:t>
    </dgm:pt>
    <dgm:pt modelId="{F5672D5E-CE21-4311-AE40-47FE7DFDED50}" type="parTrans" cxnId="{D04ED7FD-6781-402F-A365-AF22646E093F}">
      <dgm:prSet/>
      <dgm:spPr/>
      <dgm:t>
        <a:bodyPr/>
        <a:lstStyle/>
        <a:p>
          <a:endParaRPr lang="fr-FR"/>
        </a:p>
      </dgm:t>
    </dgm:pt>
    <dgm:pt modelId="{25FC829F-B590-45A7-B832-FF75D2F6A5E4}" type="sibTrans" cxnId="{D04ED7FD-6781-402F-A365-AF22646E093F}">
      <dgm:prSet/>
      <dgm:spPr/>
      <dgm:t>
        <a:bodyPr/>
        <a:lstStyle/>
        <a:p>
          <a:endParaRPr lang="fr-FR"/>
        </a:p>
      </dgm:t>
    </dgm:pt>
    <dgm:pt modelId="{F5A062FD-E9C8-401F-8C22-718DA65CBB37}">
      <dgm:prSet/>
      <dgm:spPr/>
      <dgm:t>
        <a:bodyPr/>
        <a:lstStyle/>
        <a:p>
          <a:r>
            <a:rPr lang="fr-FR" dirty="0" smtClean="0"/>
            <a:t>Monter en D2 de l’</a:t>
          </a:r>
          <a:r>
            <a:rPr lang="fr-FR" dirty="0" err="1" smtClean="0"/>
            <a:t>interclub</a:t>
          </a:r>
          <a:r>
            <a:rPr lang="fr-FR" dirty="0" smtClean="0"/>
            <a:t> départemental Mixte</a:t>
          </a:r>
          <a:endParaRPr lang="fr-FR" dirty="0"/>
        </a:p>
      </dgm:t>
    </dgm:pt>
    <dgm:pt modelId="{7575B8BE-93DF-4E20-9573-72816706BC86}" type="parTrans" cxnId="{7065F71A-B6A8-476B-BE25-49A394A33EAC}">
      <dgm:prSet/>
      <dgm:spPr/>
      <dgm:t>
        <a:bodyPr/>
        <a:lstStyle/>
        <a:p>
          <a:endParaRPr lang="fr-FR"/>
        </a:p>
      </dgm:t>
    </dgm:pt>
    <dgm:pt modelId="{64D96A4A-1289-4662-B211-8C551DBD611B}" type="sibTrans" cxnId="{7065F71A-B6A8-476B-BE25-49A394A33EAC}">
      <dgm:prSet/>
      <dgm:spPr/>
      <dgm:t>
        <a:bodyPr/>
        <a:lstStyle/>
        <a:p>
          <a:endParaRPr lang="fr-FR"/>
        </a:p>
      </dgm:t>
    </dgm:pt>
    <dgm:pt modelId="{060F86EE-70A6-4417-A670-66DF94D05E9C}">
      <dgm:prSet/>
      <dgm:spPr/>
      <dgm:t>
        <a:bodyPr/>
        <a:lstStyle/>
        <a:p>
          <a:r>
            <a:rPr lang="fr-FR" dirty="0" smtClean="0"/>
            <a:t>Etre sur le podium de l’</a:t>
          </a:r>
          <a:r>
            <a:rPr lang="fr-FR" dirty="0" err="1" smtClean="0"/>
            <a:t>Interclub</a:t>
          </a:r>
          <a:r>
            <a:rPr lang="fr-FR" dirty="0" smtClean="0"/>
            <a:t> départemental Vétérans</a:t>
          </a:r>
          <a:endParaRPr lang="fr-FR" dirty="0"/>
        </a:p>
      </dgm:t>
    </dgm:pt>
    <dgm:pt modelId="{A8555EE1-8B88-41AC-814F-14D15CD32E44}" type="parTrans" cxnId="{A8DF2236-CCCA-4E99-9C5F-A2FECB9624FE}">
      <dgm:prSet/>
      <dgm:spPr/>
      <dgm:t>
        <a:bodyPr/>
        <a:lstStyle/>
        <a:p>
          <a:endParaRPr lang="fr-FR"/>
        </a:p>
      </dgm:t>
    </dgm:pt>
    <dgm:pt modelId="{E9E57C39-319D-466C-89CF-E12DEAB9C59B}" type="sibTrans" cxnId="{A8DF2236-CCCA-4E99-9C5F-A2FECB9624FE}">
      <dgm:prSet/>
      <dgm:spPr/>
      <dgm:t>
        <a:bodyPr/>
        <a:lstStyle/>
        <a:p>
          <a:endParaRPr lang="fr-FR"/>
        </a:p>
      </dgm:t>
    </dgm:pt>
    <dgm:pt modelId="{DEFD2ED6-156E-4F43-84C2-AC89950F1718}">
      <dgm:prSet/>
      <dgm:spPr/>
      <dgm:t>
        <a:bodyPr/>
        <a:lstStyle/>
        <a:p>
          <a:r>
            <a:rPr lang="fr-FR" dirty="0" smtClean="0"/>
            <a:t>Améliorer le classement des jeunes.</a:t>
          </a:r>
          <a:endParaRPr lang="fr-FR" dirty="0"/>
        </a:p>
      </dgm:t>
    </dgm:pt>
    <dgm:pt modelId="{4A8FC8F1-9B29-4215-A42F-2C0BF57C5F5F}" type="parTrans" cxnId="{3167F58B-8AAE-4D39-A174-1E873382ED8C}">
      <dgm:prSet/>
      <dgm:spPr/>
      <dgm:t>
        <a:bodyPr/>
        <a:lstStyle/>
        <a:p>
          <a:endParaRPr lang="fr-FR"/>
        </a:p>
      </dgm:t>
    </dgm:pt>
    <dgm:pt modelId="{0283FF12-5E3B-49F6-89DF-E9CFB87A7414}" type="sibTrans" cxnId="{3167F58B-8AAE-4D39-A174-1E873382ED8C}">
      <dgm:prSet/>
      <dgm:spPr/>
      <dgm:t>
        <a:bodyPr/>
        <a:lstStyle/>
        <a:p>
          <a:endParaRPr lang="fr-FR"/>
        </a:p>
      </dgm:t>
    </dgm:pt>
    <dgm:pt modelId="{A712EF0F-43B9-4CC9-B290-EA04F6AC96EF}">
      <dgm:prSet/>
      <dgm:spPr/>
      <dgm:t>
        <a:bodyPr/>
        <a:lstStyle/>
        <a:p>
          <a:r>
            <a:rPr lang="fr-FR" dirty="0" smtClean="0"/>
            <a:t>Renforcer le lien avec les Etablissements scolaires</a:t>
          </a:r>
          <a:endParaRPr lang="fr-FR" dirty="0"/>
        </a:p>
      </dgm:t>
    </dgm:pt>
    <dgm:pt modelId="{C4C528C4-D893-44F9-B676-A9CF49E95AC7}" type="parTrans" cxnId="{40BA128A-8DEA-42B8-A0DF-872B39358108}">
      <dgm:prSet/>
      <dgm:spPr/>
      <dgm:t>
        <a:bodyPr/>
        <a:lstStyle/>
        <a:p>
          <a:endParaRPr lang="fr-FR"/>
        </a:p>
      </dgm:t>
    </dgm:pt>
    <dgm:pt modelId="{50C3A2D9-1498-48A7-8BE5-C1AFF7F7A3DF}" type="sibTrans" cxnId="{40BA128A-8DEA-42B8-A0DF-872B39358108}">
      <dgm:prSet/>
      <dgm:spPr/>
      <dgm:t>
        <a:bodyPr/>
        <a:lstStyle/>
        <a:p>
          <a:endParaRPr lang="fr-FR"/>
        </a:p>
      </dgm:t>
    </dgm:pt>
    <dgm:pt modelId="{9F9786ED-9BCD-4009-A8E3-1230F4E1BCBA}">
      <dgm:prSet/>
      <dgm:spPr/>
      <dgm:t>
        <a:bodyPr/>
        <a:lstStyle/>
        <a:p>
          <a:r>
            <a:rPr lang="fr-FR" dirty="0" smtClean="0"/>
            <a:t>Avoir 12 adhérents en Mini Gym</a:t>
          </a:r>
          <a:endParaRPr lang="fr-FR" dirty="0"/>
        </a:p>
      </dgm:t>
    </dgm:pt>
    <dgm:pt modelId="{1506F748-2997-40A8-86E5-0E5514AB0DEF}" type="parTrans" cxnId="{204EDEFA-C4BD-4DAA-BFFA-5268250381B4}">
      <dgm:prSet/>
      <dgm:spPr/>
      <dgm:t>
        <a:bodyPr/>
        <a:lstStyle/>
        <a:p>
          <a:endParaRPr lang="fr-FR"/>
        </a:p>
      </dgm:t>
    </dgm:pt>
    <dgm:pt modelId="{0BFBDCF2-061E-4892-B82F-C626D2888044}" type="sibTrans" cxnId="{204EDEFA-C4BD-4DAA-BFFA-5268250381B4}">
      <dgm:prSet/>
      <dgm:spPr/>
      <dgm:t>
        <a:bodyPr/>
        <a:lstStyle/>
        <a:p>
          <a:endParaRPr lang="fr-FR"/>
        </a:p>
      </dgm:t>
    </dgm:pt>
    <dgm:pt modelId="{1F4AF0B5-0FD3-4E5D-9DED-D29283982A6B}">
      <dgm:prSet/>
      <dgm:spPr/>
      <dgm:t>
        <a:bodyPr/>
        <a:lstStyle/>
        <a:p>
          <a:r>
            <a:rPr lang="fr-FR" dirty="0" smtClean="0"/>
            <a:t>Développer les compétitions</a:t>
          </a:r>
          <a:endParaRPr lang="fr-FR" dirty="0"/>
        </a:p>
      </dgm:t>
    </dgm:pt>
    <dgm:pt modelId="{50D0EB9B-FDBE-4EEC-94EE-220A372E2ECE}" type="parTrans" cxnId="{42D7DA26-D46E-4885-B063-C56DB830A708}">
      <dgm:prSet/>
      <dgm:spPr/>
      <dgm:t>
        <a:bodyPr/>
        <a:lstStyle/>
        <a:p>
          <a:endParaRPr lang="fr-FR"/>
        </a:p>
      </dgm:t>
    </dgm:pt>
    <dgm:pt modelId="{DB3DB766-0392-47CF-A562-0ED091A55D72}" type="sibTrans" cxnId="{42D7DA26-D46E-4885-B063-C56DB830A708}">
      <dgm:prSet/>
      <dgm:spPr/>
      <dgm:t>
        <a:bodyPr/>
        <a:lstStyle/>
        <a:p>
          <a:endParaRPr lang="fr-FR"/>
        </a:p>
      </dgm:t>
    </dgm:pt>
    <dgm:pt modelId="{312A3F94-EAFE-438A-8B63-C8508B051EC5}">
      <dgm:prSet/>
      <dgm:spPr/>
      <dgm:t>
        <a:bodyPr/>
        <a:lstStyle/>
        <a:p>
          <a:r>
            <a:rPr lang="fr-FR" dirty="0" smtClean="0"/>
            <a:t>Améliorer les conditions matérielles de pratique </a:t>
          </a:r>
          <a:endParaRPr lang="fr-FR" dirty="0"/>
        </a:p>
      </dgm:t>
    </dgm:pt>
    <dgm:pt modelId="{2F879958-63AC-46D3-9B97-432BDD76902E}" type="parTrans" cxnId="{18F04C6B-171A-4C3F-969E-B775868CA2CC}">
      <dgm:prSet/>
      <dgm:spPr/>
      <dgm:t>
        <a:bodyPr/>
        <a:lstStyle/>
        <a:p>
          <a:endParaRPr lang="fr-FR"/>
        </a:p>
      </dgm:t>
    </dgm:pt>
    <dgm:pt modelId="{FAF388BF-1F89-40AF-9B18-35E44D255BD5}" type="sibTrans" cxnId="{18F04C6B-171A-4C3F-969E-B775868CA2CC}">
      <dgm:prSet/>
      <dgm:spPr/>
      <dgm:t>
        <a:bodyPr/>
        <a:lstStyle/>
        <a:p>
          <a:endParaRPr lang="fr-FR"/>
        </a:p>
      </dgm:t>
    </dgm:pt>
    <dgm:pt modelId="{799C6A42-FCD9-417E-A792-EC33C27C79AA}">
      <dgm:prSet/>
      <dgm:spPr/>
      <dgm:t>
        <a:bodyPr/>
        <a:lstStyle/>
        <a:p>
          <a:endParaRPr lang="fr-FR" dirty="0"/>
        </a:p>
      </dgm:t>
    </dgm:pt>
    <dgm:pt modelId="{EEFB254B-631B-4F39-9D17-C04BA1DB725E}" type="parTrans" cxnId="{02914E60-BD75-444F-AFB0-2510FCF9D187}">
      <dgm:prSet/>
      <dgm:spPr/>
      <dgm:t>
        <a:bodyPr/>
        <a:lstStyle/>
        <a:p>
          <a:endParaRPr lang="fr-FR"/>
        </a:p>
      </dgm:t>
    </dgm:pt>
    <dgm:pt modelId="{6343FC9A-5016-4598-88C7-CBCE4A14EDD6}" type="sibTrans" cxnId="{02914E60-BD75-444F-AFB0-2510FCF9D187}">
      <dgm:prSet/>
      <dgm:spPr/>
      <dgm:t>
        <a:bodyPr/>
        <a:lstStyle/>
        <a:p>
          <a:endParaRPr lang="fr-FR"/>
        </a:p>
      </dgm:t>
    </dgm:pt>
    <dgm:pt modelId="{668C2D20-52A6-4EE6-B919-267266943361}">
      <dgm:prSet/>
      <dgm:spPr/>
      <dgm:t>
        <a:bodyPr/>
        <a:lstStyle/>
        <a:p>
          <a:endParaRPr lang="fr-FR" dirty="0"/>
        </a:p>
      </dgm:t>
    </dgm:pt>
    <dgm:pt modelId="{63A0C8DB-4ABE-41B2-8362-43606D7680CC}" type="parTrans" cxnId="{734B1A3F-EC41-4129-9BBF-32333D06F126}">
      <dgm:prSet/>
      <dgm:spPr/>
      <dgm:t>
        <a:bodyPr/>
        <a:lstStyle/>
        <a:p>
          <a:endParaRPr lang="fr-FR"/>
        </a:p>
      </dgm:t>
    </dgm:pt>
    <dgm:pt modelId="{4A97275B-7DD0-45DA-9B11-79D95EAE2AE4}" type="sibTrans" cxnId="{734B1A3F-EC41-4129-9BBF-32333D06F126}">
      <dgm:prSet/>
      <dgm:spPr/>
      <dgm:t>
        <a:bodyPr/>
        <a:lstStyle/>
        <a:p>
          <a:endParaRPr lang="fr-FR"/>
        </a:p>
      </dgm:t>
    </dgm:pt>
    <dgm:pt modelId="{A94B12ED-782D-4C7D-8132-E53E8EC3360B}" type="pres">
      <dgm:prSet presAssocID="{4B03CF0E-FEA8-4859-918D-9805BDB59610}" presName="linearFlow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9C7CDC1B-52FA-4E21-BBA3-F418AACF2BB7}" type="pres">
      <dgm:prSet presAssocID="{2595C9AD-CC1A-4C7F-B0D8-CC5A1B98064E}" presName="compositeNode" presStyleCnt="0">
        <dgm:presLayoutVars>
          <dgm:bulletEnabled val="1"/>
        </dgm:presLayoutVars>
      </dgm:prSet>
      <dgm:spPr/>
    </dgm:pt>
    <dgm:pt modelId="{7451B013-D031-4EAB-8179-2C342626A04E}" type="pres">
      <dgm:prSet presAssocID="{2595C9AD-CC1A-4C7F-B0D8-CC5A1B98064E}" presName="image" presStyleLbl="fgImgPlace1" presStyleIdx="0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47EC222F-D8FC-43D8-8314-E4F633EC6C92}" type="pres">
      <dgm:prSet presAssocID="{2595C9AD-CC1A-4C7F-B0D8-CC5A1B98064E}" presName="child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5F6BEF7-73A3-4FCE-88E9-13D2D906E9FD}" type="pres">
      <dgm:prSet presAssocID="{2595C9AD-CC1A-4C7F-B0D8-CC5A1B98064E}" presName="parentNode" presStyleLbl="revTx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441F14B-E3C7-4F13-B014-56FE1E5F20D3}" type="pres">
      <dgm:prSet presAssocID="{59682239-565E-4215-9C00-5409EB9713E8}" presName="sibTrans" presStyleCnt="0"/>
      <dgm:spPr/>
    </dgm:pt>
    <dgm:pt modelId="{38E6853F-328E-4B37-9E32-6AC5946A206D}" type="pres">
      <dgm:prSet presAssocID="{799C6A42-FCD9-417E-A792-EC33C27C79AA}" presName="compositeNode" presStyleCnt="0">
        <dgm:presLayoutVars>
          <dgm:bulletEnabled val="1"/>
        </dgm:presLayoutVars>
      </dgm:prSet>
      <dgm:spPr/>
    </dgm:pt>
    <dgm:pt modelId="{7771BBF3-5345-401F-8B99-46595DEAA66D}" type="pres">
      <dgm:prSet presAssocID="{799C6A42-FCD9-417E-A792-EC33C27C79AA}" presName="image" presStyleLbl="fgImgPlace1" presStyleIdx="1" presStyleCnt="3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0BC2E776-948A-410C-BF98-F4DB96F4A8B6}" type="pres">
      <dgm:prSet presAssocID="{799C6A42-FCD9-417E-A792-EC33C27C79AA}" presName="childNode" presStyleLbl="node1" presStyleIdx="1" presStyleCnt="3" custLinFactNeighborX="-4400" custLinFactNeighborY="-86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5F37BCE-5602-48E1-B14A-B227FF69A86E}" type="pres">
      <dgm:prSet presAssocID="{799C6A42-FCD9-417E-A792-EC33C27C79AA}" presName="parentNode" presStyleLbl="revTx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ED2BE9D-D8C0-4CBC-8C97-0DA8D7E6F416}" type="pres">
      <dgm:prSet presAssocID="{6343FC9A-5016-4598-88C7-CBCE4A14EDD6}" presName="sibTrans" presStyleCnt="0"/>
      <dgm:spPr/>
    </dgm:pt>
    <dgm:pt modelId="{53DB3834-9315-47A8-8AE9-CC51CB68346D}" type="pres">
      <dgm:prSet presAssocID="{668C2D20-52A6-4EE6-B919-267266943361}" presName="compositeNode" presStyleCnt="0">
        <dgm:presLayoutVars>
          <dgm:bulletEnabled val="1"/>
        </dgm:presLayoutVars>
      </dgm:prSet>
      <dgm:spPr/>
    </dgm:pt>
    <dgm:pt modelId="{5CF46213-D342-44D1-9B49-D18C1A8586C3}" type="pres">
      <dgm:prSet presAssocID="{668C2D20-52A6-4EE6-B919-267266943361}" presName="image" presStyleLbl="fgImgPlace1" presStyleIdx="2" presStyleCnt="3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0A23697B-03AD-469F-8E2F-1E089C400C82}" type="pres">
      <dgm:prSet presAssocID="{668C2D20-52A6-4EE6-B919-267266943361}" presName="child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B2FD7B3-2768-4E74-BA6C-480FABFAC2AA}" type="pres">
      <dgm:prSet presAssocID="{668C2D20-52A6-4EE6-B919-267266943361}" presName="parentNode" presStyleLbl="revTx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382892B8-B9B6-4A26-927B-3E38AD2B64C0}" srcId="{2595C9AD-CC1A-4C7F-B0D8-CC5A1B98064E}" destId="{E06B3976-0B58-41BF-A307-220F72DD6781}" srcOrd="0" destOrd="0" parTransId="{6764EB74-1E73-470E-85F0-E088E8AF2D72}" sibTransId="{680541D5-369B-4BAC-9469-F7796ADA8A12}"/>
    <dgm:cxn modelId="{D150C7FC-C7C3-411E-BBC9-D9E97366AE9B}" type="presOf" srcId="{799C6A42-FCD9-417E-A792-EC33C27C79AA}" destId="{95F37BCE-5602-48E1-B14A-B227FF69A86E}" srcOrd="0" destOrd="0" presId="urn:microsoft.com/office/officeart/2005/8/layout/hList2"/>
    <dgm:cxn modelId="{F774067C-9203-47B0-8D5F-19BB5E40E0C7}" type="presOf" srcId="{A712EF0F-43B9-4CC9-B290-EA04F6AC96EF}" destId="{0BC2E776-948A-410C-BF98-F4DB96F4A8B6}" srcOrd="0" destOrd="5" presId="urn:microsoft.com/office/officeart/2005/8/layout/hList2"/>
    <dgm:cxn modelId="{5117EFB9-D9F2-4D3E-A134-1D6942D34700}" type="presOf" srcId="{DEFD2ED6-156E-4F43-84C2-AC89950F1718}" destId="{0BC2E776-948A-410C-BF98-F4DB96F4A8B6}" srcOrd="0" destOrd="4" presId="urn:microsoft.com/office/officeart/2005/8/layout/hList2"/>
    <dgm:cxn modelId="{546891F0-C4E1-450F-8152-57A350402F1F}" type="presOf" srcId="{2595C9AD-CC1A-4C7F-B0D8-CC5A1B98064E}" destId="{25F6BEF7-73A3-4FCE-88E9-13D2D906E9FD}" srcOrd="0" destOrd="0" presId="urn:microsoft.com/office/officeart/2005/8/layout/hList2"/>
    <dgm:cxn modelId="{5809C2F5-5960-4EFF-A6DB-EB234DC923E4}" srcId="{2595C9AD-CC1A-4C7F-B0D8-CC5A1B98064E}" destId="{A467EB82-4A86-4321-932A-BC71C5A9A799}" srcOrd="5" destOrd="0" parTransId="{3EFC4B38-06B1-4279-9AE7-46F0FD610724}" sibTransId="{7B77D74D-9DA5-4258-9FE0-EC7C1232245B}"/>
    <dgm:cxn modelId="{F6644B6F-0DE7-4E29-96E2-C456ADC39004}" type="presOf" srcId="{060F86EE-70A6-4417-A670-66DF94D05E9C}" destId="{0BC2E776-948A-410C-BF98-F4DB96F4A8B6}" srcOrd="0" destOrd="3" presId="urn:microsoft.com/office/officeart/2005/8/layout/hList2"/>
    <dgm:cxn modelId="{96A4D930-4912-4AFC-B1B8-A8BE68B350BA}" type="presOf" srcId="{BDAF8B72-A9C1-4F73-9515-E04B579A3BE9}" destId="{47EC222F-D8FC-43D8-8314-E4F633EC6C92}" srcOrd="0" destOrd="4" presId="urn:microsoft.com/office/officeart/2005/8/layout/hList2"/>
    <dgm:cxn modelId="{204EDEFA-C4BD-4DAA-BFFA-5268250381B4}" srcId="{668C2D20-52A6-4EE6-B919-267266943361}" destId="{9F9786ED-9BCD-4009-A8E3-1230F4E1BCBA}" srcOrd="1" destOrd="0" parTransId="{1506F748-2997-40A8-86E5-0E5514AB0DEF}" sibTransId="{0BFBDCF2-061E-4892-B82F-C626D2888044}"/>
    <dgm:cxn modelId="{4D91A7EA-841A-48C4-A95E-1CFEFF8E1D09}" srcId="{4B03CF0E-FEA8-4859-918D-9805BDB59610}" destId="{2595C9AD-CC1A-4C7F-B0D8-CC5A1B98064E}" srcOrd="0" destOrd="0" parTransId="{CB1B262F-F9A6-496F-A4DB-86F4829819A3}" sibTransId="{59682239-565E-4215-9C00-5409EB9713E8}"/>
    <dgm:cxn modelId="{02914E60-BD75-444F-AFB0-2510FCF9D187}" srcId="{4B03CF0E-FEA8-4859-918D-9805BDB59610}" destId="{799C6A42-FCD9-417E-A792-EC33C27C79AA}" srcOrd="1" destOrd="0" parTransId="{EEFB254B-631B-4F39-9D17-C04BA1DB725E}" sibTransId="{6343FC9A-5016-4598-88C7-CBCE4A14EDD6}"/>
    <dgm:cxn modelId="{42D7DA26-D46E-4885-B063-C56DB830A708}" srcId="{668C2D20-52A6-4EE6-B919-267266943361}" destId="{1F4AF0B5-0FD3-4E5D-9DED-D29283982A6B}" srcOrd="2" destOrd="0" parTransId="{50D0EB9B-FDBE-4EEC-94EE-220A372E2ECE}" sibTransId="{DB3DB766-0392-47CF-A562-0ED091A55D72}"/>
    <dgm:cxn modelId="{0B4C740F-312B-44DB-8BF4-31F8932A3622}" type="presOf" srcId="{312A3F94-EAFE-438A-8B63-C8508B051EC5}" destId="{0A23697B-03AD-469F-8E2F-1E089C400C82}" srcOrd="0" destOrd="3" presId="urn:microsoft.com/office/officeart/2005/8/layout/hList2"/>
    <dgm:cxn modelId="{7065F71A-B6A8-476B-BE25-49A394A33EAC}" srcId="{799C6A42-FCD9-417E-A792-EC33C27C79AA}" destId="{F5A062FD-E9C8-401F-8C22-718DA65CBB37}" srcOrd="2" destOrd="0" parTransId="{7575B8BE-93DF-4E20-9573-72816706BC86}" sibTransId="{64D96A4A-1289-4662-B211-8C551DBD611B}"/>
    <dgm:cxn modelId="{EB349621-2267-4A52-96CB-464C7547E222}" type="presOf" srcId="{9F9786ED-9BCD-4009-A8E3-1230F4E1BCBA}" destId="{0A23697B-03AD-469F-8E2F-1E089C400C82}" srcOrd="0" destOrd="1" presId="urn:microsoft.com/office/officeart/2005/8/layout/hList2"/>
    <dgm:cxn modelId="{330F57E7-A038-4622-A9EF-682A991C88FB}" type="presOf" srcId="{F5A062FD-E9C8-401F-8C22-718DA65CBB37}" destId="{0BC2E776-948A-410C-BF98-F4DB96F4A8B6}" srcOrd="0" destOrd="2" presId="urn:microsoft.com/office/officeart/2005/8/layout/hList2"/>
    <dgm:cxn modelId="{D04ED7FD-6781-402F-A365-AF22646E093F}" srcId="{799C6A42-FCD9-417E-A792-EC33C27C79AA}" destId="{967D03B3-A4F1-4D29-A7F3-99703CDA2F37}" srcOrd="1" destOrd="0" parTransId="{F5672D5E-CE21-4311-AE40-47FE7DFDED50}" sibTransId="{25FC829F-B590-45A7-B832-FF75D2F6A5E4}"/>
    <dgm:cxn modelId="{605AD5B4-C06F-4F65-A2F2-71ED8ED188BC}" type="presOf" srcId="{1F4AF0B5-0FD3-4E5D-9DED-D29283982A6B}" destId="{0A23697B-03AD-469F-8E2F-1E089C400C82}" srcOrd="0" destOrd="2" presId="urn:microsoft.com/office/officeart/2005/8/layout/hList2"/>
    <dgm:cxn modelId="{E63D27BB-9872-45B2-A8DB-5F88FAB7A350}" type="presOf" srcId="{5CF59008-0D9E-4C5C-A75C-C5872D386964}" destId="{0BC2E776-948A-410C-BF98-F4DB96F4A8B6}" srcOrd="0" destOrd="0" presId="urn:microsoft.com/office/officeart/2005/8/layout/hList2"/>
    <dgm:cxn modelId="{9D536427-CF0B-4C7C-ACBD-A61763F58F52}" type="presOf" srcId="{967D03B3-A4F1-4D29-A7F3-99703CDA2F37}" destId="{0BC2E776-948A-410C-BF98-F4DB96F4A8B6}" srcOrd="0" destOrd="1" presId="urn:microsoft.com/office/officeart/2005/8/layout/hList2"/>
    <dgm:cxn modelId="{62923293-A606-4BD3-A0B3-576BE4C93A05}" type="presOf" srcId="{FD7B4089-08F5-4F1A-862E-3A11A01CC3C8}" destId="{47EC222F-D8FC-43D8-8314-E4F633EC6C92}" srcOrd="0" destOrd="2" presId="urn:microsoft.com/office/officeart/2005/8/layout/hList2"/>
    <dgm:cxn modelId="{72F681FC-F238-4439-B047-E95ECE0C9ECC}" srcId="{2595C9AD-CC1A-4C7F-B0D8-CC5A1B98064E}" destId="{CF729B76-4A2A-4747-BD77-B15E6A3A0763}" srcOrd="1" destOrd="0" parTransId="{234134E5-F7EC-48B1-9EF2-D9261726D91C}" sibTransId="{7531C21C-C433-4BEB-9CF3-D2623E8DF7FD}"/>
    <dgm:cxn modelId="{40BA128A-8DEA-42B8-A0DF-872B39358108}" srcId="{799C6A42-FCD9-417E-A792-EC33C27C79AA}" destId="{A712EF0F-43B9-4CC9-B290-EA04F6AC96EF}" srcOrd="5" destOrd="0" parTransId="{C4C528C4-D893-44F9-B676-A9CF49E95AC7}" sibTransId="{50C3A2D9-1498-48A7-8BE5-C1AFF7F7A3DF}"/>
    <dgm:cxn modelId="{3BA0D0FA-701E-444B-879E-95C2C8D8DC59}" type="presOf" srcId="{668C2D20-52A6-4EE6-B919-267266943361}" destId="{8B2FD7B3-2768-4E74-BA6C-480FABFAC2AA}" srcOrd="0" destOrd="0" presId="urn:microsoft.com/office/officeart/2005/8/layout/hList2"/>
    <dgm:cxn modelId="{81563BE7-968D-423B-B860-0A70CD00DC29}" type="presOf" srcId="{A467EB82-4A86-4321-932A-BC71C5A9A799}" destId="{47EC222F-D8FC-43D8-8314-E4F633EC6C92}" srcOrd="0" destOrd="5" presId="urn:microsoft.com/office/officeart/2005/8/layout/hList2"/>
    <dgm:cxn modelId="{15246440-03D7-4D0D-88EA-FC83DD5EF20F}" srcId="{2595C9AD-CC1A-4C7F-B0D8-CC5A1B98064E}" destId="{BDAF8B72-A9C1-4F73-9515-E04B579A3BE9}" srcOrd="4" destOrd="0" parTransId="{3646D031-483A-4050-8024-9A90FC88F520}" sibTransId="{1A6CFBDA-5319-4709-BA81-9EBB02F72D68}"/>
    <dgm:cxn modelId="{B0FA7596-76BB-417F-A73C-A666EE04D34E}" type="presOf" srcId="{CF729B76-4A2A-4747-BD77-B15E6A3A0763}" destId="{47EC222F-D8FC-43D8-8314-E4F633EC6C92}" srcOrd="0" destOrd="1" presId="urn:microsoft.com/office/officeart/2005/8/layout/hList2"/>
    <dgm:cxn modelId="{734B1A3F-EC41-4129-9BBF-32333D06F126}" srcId="{4B03CF0E-FEA8-4859-918D-9805BDB59610}" destId="{668C2D20-52A6-4EE6-B919-267266943361}" srcOrd="2" destOrd="0" parTransId="{63A0C8DB-4ABE-41B2-8362-43606D7680CC}" sibTransId="{4A97275B-7DD0-45DA-9B11-79D95EAE2AE4}"/>
    <dgm:cxn modelId="{BF5EB612-3ECD-43F6-B537-7BC75C94B6FD}" srcId="{2595C9AD-CC1A-4C7F-B0D8-CC5A1B98064E}" destId="{66B53DBF-8335-4235-80C1-00F99356BF78}" srcOrd="3" destOrd="0" parTransId="{C4B6BD43-491E-499E-BFFD-2824DE10C045}" sibTransId="{D53FC8CD-D782-4286-9AA3-28BB244A2871}"/>
    <dgm:cxn modelId="{D0D04FFF-C8C7-4806-ADFB-182A59C4A0C7}" type="presOf" srcId="{9F40E5E0-78B2-4FC9-A96D-A3696CDB690E}" destId="{0A23697B-03AD-469F-8E2F-1E089C400C82}" srcOrd="0" destOrd="0" presId="urn:microsoft.com/office/officeart/2005/8/layout/hList2"/>
    <dgm:cxn modelId="{EB192724-64FB-4DF7-9761-8DF8B7344E0A}" srcId="{799C6A42-FCD9-417E-A792-EC33C27C79AA}" destId="{5CF59008-0D9E-4C5C-A75C-C5872D386964}" srcOrd="0" destOrd="0" parTransId="{C6500813-0B0B-4F41-B547-92267C55EF80}" sibTransId="{7B90745E-445A-4407-BCDA-C96C551F98C8}"/>
    <dgm:cxn modelId="{87A00EF6-D94D-4A0B-997B-6681D5DEC657}" type="presOf" srcId="{E06B3976-0B58-41BF-A307-220F72DD6781}" destId="{47EC222F-D8FC-43D8-8314-E4F633EC6C92}" srcOrd="0" destOrd="0" presId="urn:microsoft.com/office/officeart/2005/8/layout/hList2"/>
    <dgm:cxn modelId="{3167F58B-8AAE-4D39-A174-1E873382ED8C}" srcId="{799C6A42-FCD9-417E-A792-EC33C27C79AA}" destId="{DEFD2ED6-156E-4F43-84C2-AC89950F1718}" srcOrd="4" destOrd="0" parTransId="{4A8FC8F1-9B29-4215-A42F-2C0BF57C5F5F}" sibTransId="{0283FF12-5E3B-49F6-89DF-E9CFB87A7414}"/>
    <dgm:cxn modelId="{1018D07B-F87B-4E7E-8A27-EB410863F1F3}" type="presOf" srcId="{4B03CF0E-FEA8-4859-918D-9805BDB59610}" destId="{A94B12ED-782D-4C7D-8132-E53E8EC3360B}" srcOrd="0" destOrd="0" presId="urn:microsoft.com/office/officeart/2005/8/layout/hList2"/>
    <dgm:cxn modelId="{B8D845A8-08C4-4ACB-A762-E8B02A32360E}" srcId="{668C2D20-52A6-4EE6-B919-267266943361}" destId="{9F40E5E0-78B2-4FC9-A96D-A3696CDB690E}" srcOrd="0" destOrd="0" parTransId="{7128D2E1-5E72-4415-BC20-F62A578B3182}" sibTransId="{C54E64E1-F017-4379-BEF7-69295867A7DA}"/>
    <dgm:cxn modelId="{37394AD9-C403-4D43-A7DC-1ACB3813C76B}" type="presOf" srcId="{66B53DBF-8335-4235-80C1-00F99356BF78}" destId="{47EC222F-D8FC-43D8-8314-E4F633EC6C92}" srcOrd="0" destOrd="3" presId="urn:microsoft.com/office/officeart/2005/8/layout/hList2"/>
    <dgm:cxn modelId="{4313A1A5-6F89-454A-8108-CE50BFFE4EDB}" srcId="{2595C9AD-CC1A-4C7F-B0D8-CC5A1B98064E}" destId="{FD7B4089-08F5-4F1A-862E-3A11A01CC3C8}" srcOrd="2" destOrd="0" parTransId="{8B30FCCB-73DA-4232-9B25-BA877E2B0576}" sibTransId="{D91891E4-DD42-4E2D-8012-55B1EA027692}"/>
    <dgm:cxn modelId="{18F04C6B-171A-4C3F-969E-B775868CA2CC}" srcId="{668C2D20-52A6-4EE6-B919-267266943361}" destId="{312A3F94-EAFE-438A-8B63-C8508B051EC5}" srcOrd="3" destOrd="0" parTransId="{2F879958-63AC-46D3-9B97-432BDD76902E}" sibTransId="{FAF388BF-1F89-40AF-9B18-35E44D255BD5}"/>
    <dgm:cxn modelId="{A8DF2236-CCCA-4E99-9C5F-A2FECB9624FE}" srcId="{799C6A42-FCD9-417E-A792-EC33C27C79AA}" destId="{060F86EE-70A6-4417-A670-66DF94D05E9C}" srcOrd="3" destOrd="0" parTransId="{A8555EE1-8B88-41AC-814F-14D15CD32E44}" sibTransId="{E9E57C39-319D-466C-89CF-E12DEAB9C59B}"/>
    <dgm:cxn modelId="{D06BB4F3-C0A1-4CC2-AFEF-E24B3FD153A0}" type="presParOf" srcId="{A94B12ED-782D-4C7D-8132-E53E8EC3360B}" destId="{9C7CDC1B-52FA-4E21-BBA3-F418AACF2BB7}" srcOrd="0" destOrd="0" presId="urn:microsoft.com/office/officeart/2005/8/layout/hList2"/>
    <dgm:cxn modelId="{C82984DE-E7DE-4AAD-B656-ACB86ECB00FB}" type="presParOf" srcId="{9C7CDC1B-52FA-4E21-BBA3-F418AACF2BB7}" destId="{7451B013-D031-4EAB-8179-2C342626A04E}" srcOrd="0" destOrd="0" presId="urn:microsoft.com/office/officeart/2005/8/layout/hList2"/>
    <dgm:cxn modelId="{46A97C36-AF75-4468-9B84-D980E0A69526}" type="presParOf" srcId="{9C7CDC1B-52FA-4E21-BBA3-F418AACF2BB7}" destId="{47EC222F-D8FC-43D8-8314-E4F633EC6C92}" srcOrd="1" destOrd="0" presId="urn:microsoft.com/office/officeart/2005/8/layout/hList2"/>
    <dgm:cxn modelId="{A4910223-95BC-4BF6-8531-DDCDDB6E4A98}" type="presParOf" srcId="{9C7CDC1B-52FA-4E21-BBA3-F418AACF2BB7}" destId="{25F6BEF7-73A3-4FCE-88E9-13D2D906E9FD}" srcOrd="2" destOrd="0" presId="urn:microsoft.com/office/officeart/2005/8/layout/hList2"/>
    <dgm:cxn modelId="{4606911B-390F-4325-9DF1-FADE133690CB}" type="presParOf" srcId="{A94B12ED-782D-4C7D-8132-E53E8EC3360B}" destId="{B441F14B-E3C7-4F13-B014-56FE1E5F20D3}" srcOrd="1" destOrd="0" presId="urn:microsoft.com/office/officeart/2005/8/layout/hList2"/>
    <dgm:cxn modelId="{886541E7-FB7A-425C-8630-2EAB07ECCCE0}" type="presParOf" srcId="{A94B12ED-782D-4C7D-8132-E53E8EC3360B}" destId="{38E6853F-328E-4B37-9E32-6AC5946A206D}" srcOrd="2" destOrd="0" presId="urn:microsoft.com/office/officeart/2005/8/layout/hList2"/>
    <dgm:cxn modelId="{012328DC-5E66-457A-98D0-1EC03303DAD3}" type="presParOf" srcId="{38E6853F-328E-4B37-9E32-6AC5946A206D}" destId="{7771BBF3-5345-401F-8B99-46595DEAA66D}" srcOrd="0" destOrd="0" presId="urn:microsoft.com/office/officeart/2005/8/layout/hList2"/>
    <dgm:cxn modelId="{407766CC-B970-49E3-A98F-6733C49DB2FF}" type="presParOf" srcId="{38E6853F-328E-4B37-9E32-6AC5946A206D}" destId="{0BC2E776-948A-410C-BF98-F4DB96F4A8B6}" srcOrd="1" destOrd="0" presId="urn:microsoft.com/office/officeart/2005/8/layout/hList2"/>
    <dgm:cxn modelId="{03BB9E2D-E033-40B9-AAB9-2700CB0DBA19}" type="presParOf" srcId="{38E6853F-328E-4B37-9E32-6AC5946A206D}" destId="{95F37BCE-5602-48E1-B14A-B227FF69A86E}" srcOrd="2" destOrd="0" presId="urn:microsoft.com/office/officeart/2005/8/layout/hList2"/>
    <dgm:cxn modelId="{7AC9DA95-D556-498B-A856-35AF40831A00}" type="presParOf" srcId="{A94B12ED-782D-4C7D-8132-E53E8EC3360B}" destId="{DED2BE9D-D8C0-4CBC-8C97-0DA8D7E6F416}" srcOrd="3" destOrd="0" presId="urn:microsoft.com/office/officeart/2005/8/layout/hList2"/>
    <dgm:cxn modelId="{1757DF24-0C80-4C1C-9FA2-AB9290B9FD09}" type="presParOf" srcId="{A94B12ED-782D-4C7D-8132-E53E8EC3360B}" destId="{53DB3834-9315-47A8-8AE9-CC51CB68346D}" srcOrd="4" destOrd="0" presId="urn:microsoft.com/office/officeart/2005/8/layout/hList2"/>
    <dgm:cxn modelId="{80D889F2-E0F5-4CBB-83F4-6789E34B56E3}" type="presParOf" srcId="{53DB3834-9315-47A8-8AE9-CC51CB68346D}" destId="{5CF46213-D342-44D1-9B49-D18C1A8586C3}" srcOrd="0" destOrd="0" presId="urn:microsoft.com/office/officeart/2005/8/layout/hList2"/>
    <dgm:cxn modelId="{3B1B6367-EA4D-4776-A71A-E703A54B16A2}" type="presParOf" srcId="{53DB3834-9315-47A8-8AE9-CC51CB68346D}" destId="{0A23697B-03AD-469F-8E2F-1E089C400C82}" srcOrd="1" destOrd="0" presId="urn:microsoft.com/office/officeart/2005/8/layout/hList2"/>
    <dgm:cxn modelId="{F9272C3E-9C4A-4B73-A991-9CF1AEF01860}" type="presParOf" srcId="{53DB3834-9315-47A8-8AE9-CC51CB68346D}" destId="{8B2FD7B3-2768-4E74-BA6C-480FABFAC2AA}" srcOrd="2" destOrd="0" presId="urn:microsoft.com/office/officeart/2005/8/layout/hList2"/>
  </dgm:cxnLst>
  <dgm:bg/>
  <dgm:whole/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 smtClean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 smtClean="0"/>
            <a:t>Rapport financier de l’année 2016-2017</a:t>
          </a:r>
          <a:endParaRPr lang="fr-FR" dirty="0"/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 smtClean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 smtClean="0"/>
            <a:t>Budget de l’année 2017-2018</a:t>
          </a:r>
          <a:endParaRPr lang="fr-FR" dirty="0"/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83D21C19-9BBA-47CD-A28C-78897E292876}">
      <dgm:prSet/>
      <dgm:spPr/>
      <dgm:t>
        <a:bodyPr/>
        <a:lstStyle/>
        <a:p>
          <a:r>
            <a:rPr lang="fr-FR" dirty="0" smtClean="0"/>
            <a:t>Présentation du Partenariat avec « LA RESIDENCE »</a:t>
          </a:r>
          <a:endParaRPr lang="fr-FR" dirty="0"/>
        </a:p>
      </dgm:t>
    </dgm:pt>
    <dgm:pt modelId="{F9DB217B-EB6D-4135-A0AB-5FC58BB54940}" type="parTrans" cxnId="{A7094E9D-F5FE-495F-B0F2-32CEF9128CBD}">
      <dgm:prSet/>
      <dgm:spPr/>
      <dgm:t>
        <a:bodyPr/>
        <a:lstStyle/>
        <a:p>
          <a:endParaRPr lang="fr-FR"/>
        </a:p>
      </dgm:t>
    </dgm:pt>
    <dgm:pt modelId="{2147E029-686C-49DF-B4DE-CF8BF24A4A37}" type="sibTrans" cxnId="{A7094E9D-F5FE-495F-B0F2-32CEF9128CBD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 smtClean="0"/>
            <a:t>Interventions des Invités présents</a:t>
          </a:r>
          <a:endParaRPr lang="fr-FR" dirty="0"/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dirty="0" smtClean="0"/>
            <a:t>Les rendez-vous 2017-2018</a:t>
          </a:r>
        </a:p>
      </dgm:t>
    </dgm:pt>
    <dgm:pt modelId="{57F13D37-A893-4898-8E27-67A829686B6A}" type="parTrans" cxnId="{051A02E2-A13E-46A9-94BA-D97943568D2C}">
      <dgm:prSet/>
      <dgm:spPr/>
    </dgm:pt>
    <dgm:pt modelId="{2E2E54F7-C5CC-4881-AD5B-155C1DBB1F1E}" type="sibTrans" cxnId="{051A02E2-A13E-46A9-94BA-D97943568D2C}">
      <dgm:prSet/>
      <dgm:spPr/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43AFC4E7-46DA-4B7B-B201-0A406A05CAD2}" type="pres">
      <dgm:prSet presAssocID="{F010CF21-4A6D-44EF-A02C-3D5169816247}" presName="Name1" presStyleCnt="0"/>
      <dgm:spPr/>
      <dgm:t>
        <a:bodyPr/>
        <a:lstStyle/>
        <a:p>
          <a:endParaRPr lang="fr-FR"/>
        </a:p>
      </dgm:t>
    </dgm:pt>
    <dgm:pt modelId="{C89A3969-C068-41DF-977E-ED5F7B6D0CE6}" type="pres">
      <dgm:prSet presAssocID="{F010CF21-4A6D-44EF-A02C-3D5169816247}" presName="cycle" presStyleCnt="0"/>
      <dgm:spPr/>
      <dgm:t>
        <a:bodyPr/>
        <a:lstStyle/>
        <a:p>
          <a:endParaRPr lang="fr-FR"/>
        </a:p>
      </dgm:t>
    </dgm:pt>
    <dgm:pt modelId="{36B09AF6-20B6-459B-86E4-BA1ECCD29B61}" type="pres">
      <dgm:prSet presAssocID="{F010CF21-4A6D-44EF-A02C-3D5169816247}" presName="srcNode" presStyleLbl="node1" presStyleIdx="0" presStyleCnt="7"/>
      <dgm:spPr/>
      <dgm:t>
        <a:bodyPr/>
        <a:lstStyle/>
        <a:p>
          <a:endParaRPr lang="fr-FR"/>
        </a:p>
      </dgm:t>
    </dgm:pt>
    <dgm:pt modelId="{6940BDDF-1FEF-41BF-B9E9-0FFE3926A970}" type="pres">
      <dgm:prSet presAssocID="{F010CF21-4A6D-44EF-A02C-3D5169816247}" presName="conn" presStyleLbl="parChTrans1D2" presStyleIdx="0" presStyleCnt="1"/>
      <dgm:spPr/>
      <dgm:t>
        <a:bodyPr/>
        <a:lstStyle/>
        <a:p>
          <a:endParaRPr lang="fr-FR"/>
        </a:p>
      </dgm:t>
    </dgm:pt>
    <dgm:pt modelId="{CF948C64-B606-46D3-AF0E-5C95CC7F1D42}" type="pres">
      <dgm:prSet presAssocID="{F010CF21-4A6D-44EF-A02C-3D5169816247}" presName="extraNode" presStyleLbl="node1" presStyleIdx="0" presStyleCnt="7"/>
      <dgm:spPr/>
      <dgm:t>
        <a:bodyPr/>
        <a:lstStyle/>
        <a:p>
          <a:endParaRPr lang="fr-FR"/>
        </a:p>
      </dgm:t>
    </dgm:pt>
    <dgm:pt modelId="{4485BF69-EF87-4AEE-AFDF-DE2F8D2ACCD9}" type="pres">
      <dgm:prSet presAssocID="{F010CF21-4A6D-44EF-A02C-3D5169816247}" presName="dstNode" presStyleLbl="node1" presStyleIdx="0" presStyleCnt="7"/>
      <dgm:spPr/>
      <dgm:t>
        <a:bodyPr/>
        <a:lstStyle/>
        <a:p>
          <a:endParaRPr lang="fr-FR"/>
        </a:p>
      </dgm:t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97C5B-BA88-4603-BEB8-816B9E26E1E0}" type="pres">
      <dgm:prSet presAssocID="{59788018-3182-43A3-8988-94BE0745A02A}" presName="accent_1" presStyleCnt="0"/>
      <dgm:spPr/>
      <dgm:t>
        <a:bodyPr/>
        <a:lstStyle/>
        <a:p>
          <a:endParaRPr lang="fr-FR"/>
        </a:p>
      </dgm:t>
    </dgm:pt>
    <dgm:pt modelId="{EBBCF617-4DDB-47D0-98C7-99413FA904B7}" type="pres">
      <dgm:prSet presAssocID="{59788018-3182-43A3-8988-94BE0745A02A}" presName="accentRepeatNode" presStyleLbl="solidFgAcc1" presStyleIdx="0" presStyleCnt="7"/>
      <dgm:spPr/>
      <dgm:t>
        <a:bodyPr/>
        <a:lstStyle/>
        <a:p>
          <a:endParaRPr lang="fr-FR"/>
        </a:p>
      </dgm:t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100F7-B06F-4D61-8952-72DDA3F196CC}" type="pres">
      <dgm:prSet presAssocID="{B9A48CF8-D428-45D1-8969-FBBF15BE7DBA}" presName="accent_2" presStyleCnt="0"/>
      <dgm:spPr/>
      <dgm:t>
        <a:bodyPr/>
        <a:lstStyle/>
        <a:p>
          <a:endParaRPr lang="fr-FR"/>
        </a:p>
      </dgm:t>
    </dgm:pt>
    <dgm:pt modelId="{7A113706-4115-4E46-A0DB-BB2E4C947383}" type="pres">
      <dgm:prSet presAssocID="{B9A48CF8-D428-45D1-8969-FBBF15BE7DBA}" presName="accentRepeatNode" presStyleLbl="solidFgAcc1" presStyleIdx="1" presStyleCnt="7"/>
      <dgm:spPr/>
      <dgm:t>
        <a:bodyPr/>
        <a:lstStyle/>
        <a:p>
          <a:endParaRPr lang="fr-FR"/>
        </a:p>
      </dgm:t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61BC4-D00A-48CE-8C8A-EEF31BA7E3DC}" type="pres">
      <dgm:prSet presAssocID="{2950704D-F612-46DF-93DB-38562274CE0A}" presName="accent_3" presStyleCnt="0"/>
      <dgm:spPr/>
      <dgm:t>
        <a:bodyPr/>
        <a:lstStyle/>
        <a:p>
          <a:endParaRPr lang="fr-FR"/>
        </a:p>
      </dgm:t>
    </dgm:pt>
    <dgm:pt modelId="{0692BF8D-B063-4580-8A2D-225A14481CCD}" type="pres">
      <dgm:prSet presAssocID="{2950704D-F612-46DF-93DB-38562274CE0A}" presName="accentRepeatNode" presStyleLbl="solidFgAcc1" presStyleIdx="2" presStyleCnt="7"/>
      <dgm:spPr/>
      <dgm:t>
        <a:bodyPr/>
        <a:lstStyle/>
        <a:p>
          <a:endParaRPr lang="fr-FR"/>
        </a:p>
      </dgm:t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  <dgm:t>
        <a:bodyPr/>
        <a:lstStyle/>
        <a:p>
          <a:endParaRPr lang="fr-FR"/>
        </a:p>
      </dgm:t>
    </dgm:pt>
    <dgm:pt modelId="{90DEF82D-19AE-4AD6-85C9-882AA6979A47}" type="pres">
      <dgm:prSet presAssocID="{83D21C19-9BBA-47CD-A28C-78897E292876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4443A18-902C-46C8-9159-72852470E469}" type="pres">
      <dgm:prSet presAssocID="{83D21C19-9BBA-47CD-A28C-78897E292876}" presName="accent_6" presStyleCnt="0"/>
      <dgm:spPr/>
    </dgm:pt>
    <dgm:pt modelId="{5B1F49EF-F46F-4EB0-87B2-B210B7586130}" type="pres">
      <dgm:prSet presAssocID="{83D21C19-9BBA-47CD-A28C-78897E292876}" presName="accentRepeatNode" presStyleLbl="solidFgAcc1" presStyleIdx="5" presStyleCnt="7"/>
      <dgm:spPr/>
    </dgm:pt>
    <dgm:pt modelId="{BF5F14BC-780E-439D-8CCE-B939CA6246CF}" type="pres">
      <dgm:prSet presAssocID="{414797EB-74B4-4291-AF3E-06BCA64CF6B6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C39E1B9-7EF7-4037-AC94-A53D7AE2CF83}" type="pres">
      <dgm:prSet presAssocID="{414797EB-74B4-4291-AF3E-06BCA64CF6B6}" presName="accent_7" presStyleCnt="0"/>
      <dgm:spPr/>
    </dgm:pt>
    <dgm:pt modelId="{5AF5E7EE-A04D-40FC-8300-CF20EEE80831}" type="pres">
      <dgm:prSet presAssocID="{414797EB-74B4-4291-AF3E-06BCA64CF6B6}" presName="accentRepeatNode" presStyleLbl="solidFgAcc1" presStyleIdx="6" presStyleCnt="7"/>
      <dgm:spPr/>
    </dgm:pt>
  </dgm:ptLst>
  <dgm:cxnLst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E5E1E1-43F2-478C-9CD2-FAF3143C2BB1}" type="presOf" srcId="{2950704D-F612-46DF-93DB-38562274CE0A}" destId="{CD0934E8-FFC7-4C4F-89BE-AC8E748C473B}" srcOrd="0" destOrd="0" presId="urn:microsoft.com/office/officeart/2008/layout/VerticalCurvedList"/>
    <dgm:cxn modelId="{A7094E9D-F5FE-495F-B0F2-32CEF9128CBD}" srcId="{F010CF21-4A6D-44EF-A02C-3D5169816247}" destId="{83D21C19-9BBA-47CD-A28C-78897E292876}" srcOrd="5" destOrd="0" parTransId="{F9DB217B-EB6D-4135-A0AB-5FC58BB54940}" sibTransId="{2147E029-686C-49DF-B4DE-CF8BF24A4A37}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2E6D7CB4-674B-4885-AF1D-AFD85340DBF5}" type="presOf" srcId="{F562CD0B-E8EB-4DBC-82FD-4F9ECF32E366}" destId="{6940BDDF-1FEF-41BF-B9E9-0FFE3926A970}" srcOrd="0" destOrd="0" presId="urn:microsoft.com/office/officeart/2008/layout/VerticalCurvedList"/>
    <dgm:cxn modelId="{36625374-9F8D-42FB-935B-E4995B1822A7}" type="presOf" srcId="{F010CF21-4A6D-44EF-A02C-3D5169816247}" destId="{08449366-2565-4365-85A6-6FD21C00BC0F}" srcOrd="0" destOrd="0" presId="urn:microsoft.com/office/officeart/2008/layout/VerticalCurvedList"/>
    <dgm:cxn modelId="{692518C7-7425-4148-A1AA-89E97E255407}" type="presOf" srcId="{83D21C19-9BBA-47CD-A28C-78897E292876}" destId="{90DEF82D-19AE-4AD6-85C9-882AA6979A47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09ABBB26-37A1-46B5-8E8E-67302A20D1F8}" type="presOf" srcId="{B9A48CF8-D428-45D1-8969-FBBF15BE7DBA}" destId="{B33E6E9D-CEE0-4253-A8E7-0BD98EFB662C}" srcOrd="0" destOrd="0" presId="urn:microsoft.com/office/officeart/2008/layout/VerticalCurvedList"/>
    <dgm:cxn modelId="{BACACF9F-3F2D-4A95-A238-2A157B67C47A}" type="presOf" srcId="{59788018-3182-43A3-8988-94BE0745A02A}" destId="{54C74578-773C-4297-A4DE-1398F67BB91C}" srcOrd="0" destOrd="0" presId="urn:microsoft.com/office/officeart/2008/layout/VerticalCurvedList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F8A8D6F5-ED23-4DA1-AC35-3A55D43DB946}" type="presOf" srcId="{5304307F-C466-4740-8475-DADC91075624}" destId="{A130CA03-71CB-414D-840B-5B6A74283EA0}" srcOrd="0" destOrd="0" presId="urn:microsoft.com/office/officeart/2008/layout/VerticalCurvedList"/>
    <dgm:cxn modelId="{97CB67B7-59AC-4A56-A2F9-BA994481978A}" type="presOf" srcId="{445F633E-575C-4AF5-92DD-A71CC7C927A2}" destId="{21DC1980-00DC-4CF7-95B2-732EEE3E3F6A}" srcOrd="0" destOrd="0" presId="urn:microsoft.com/office/officeart/2008/layout/VerticalCurvedList"/>
    <dgm:cxn modelId="{2BD6A3C6-5F82-4AF8-854D-29CA6C6EA4D9}" type="presOf" srcId="{414797EB-74B4-4291-AF3E-06BCA64CF6B6}" destId="{BF5F14BC-780E-439D-8CCE-B939CA6246CF}" srcOrd="0" destOrd="0" presId="urn:microsoft.com/office/officeart/2008/layout/VerticalCurvedList"/>
    <dgm:cxn modelId="{0281512C-E79C-4333-9D56-2A66E949228F}" srcId="{F010CF21-4A6D-44EF-A02C-3D5169816247}" destId="{414797EB-74B4-4291-AF3E-06BCA64CF6B6}" srcOrd="6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BB164E36-6770-4AAA-8F0F-6D73A23BA4FC}" type="presParOf" srcId="{08449366-2565-4365-85A6-6FD21C00BC0F}" destId="{43AFC4E7-46DA-4B7B-B201-0A406A05CAD2}" srcOrd="0" destOrd="0" presId="urn:microsoft.com/office/officeart/2008/layout/VerticalCurvedList"/>
    <dgm:cxn modelId="{181947BA-E7D0-45E0-8A3E-1B686A0C6918}" type="presParOf" srcId="{43AFC4E7-46DA-4B7B-B201-0A406A05CAD2}" destId="{C89A3969-C068-41DF-977E-ED5F7B6D0CE6}" srcOrd="0" destOrd="0" presId="urn:microsoft.com/office/officeart/2008/layout/VerticalCurvedList"/>
    <dgm:cxn modelId="{43A7D376-5796-4B2F-9F49-BDB641E38571}" type="presParOf" srcId="{C89A3969-C068-41DF-977E-ED5F7B6D0CE6}" destId="{36B09AF6-20B6-459B-86E4-BA1ECCD29B61}" srcOrd="0" destOrd="0" presId="urn:microsoft.com/office/officeart/2008/layout/VerticalCurvedList"/>
    <dgm:cxn modelId="{8E3DE9F7-7DC6-4350-842E-8EAE6CA2085E}" type="presParOf" srcId="{C89A3969-C068-41DF-977E-ED5F7B6D0CE6}" destId="{6940BDDF-1FEF-41BF-B9E9-0FFE3926A970}" srcOrd="1" destOrd="0" presId="urn:microsoft.com/office/officeart/2008/layout/VerticalCurvedList"/>
    <dgm:cxn modelId="{9CE0E572-1F4C-450C-9FCF-9289F81D3725}" type="presParOf" srcId="{C89A3969-C068-41DF-977E-ED5F7B6D0CE6}" destId="{CF948C64-B606-46D3-AF0E-5C95CC7F1D42}" srcOrd="2" destOrd="0" presId="urn:microsoft.com/office/officeart/2008/layout/VerticalCurvedList"/>
    <dgm:cxn modelId="{B4A54F11-AF42-4FD6-A7A8-171F9E41A838}" type="presParOf" srcId="{C89A3969-C068-41DF-977E-ED5F7B6D0CE6}" destId="{4485BF69-EF87-4AEE-AFDF-DE2F8D2ACCD9}" srcOrd="3" destOrd="0" presId="urn:microsoft.com/office/officeart/2008/layout/VerticalCurvedList"/>
    <dgm:cxn modelId="{A7156612-24EF-46A6-942C-3214EFF4047C}" type="presParOf" srcId="{43AFC4E7-46DA-4B7B-B201-0A406A05CAD2}" destId="{54C74578-773C-4297-A4DE-1398F67BB91C}" srcOrd="1" destOrd="0" presId="urn:microsoft.com/office/officeart/2008/layout/VerticalCurvedList"/>
    <dgm:cxn modelId="{A75A81C0-E8AB-4A3D-9F3B-358AE71EF4D9}" type="presParOf" srcId="{43AFC4E7-46DA-4B7B-B201-0A406A05CAD2}" destId="{10D97C5B-BA88-4603-BEB8-816B9E26E1E0}" srcOrd="2" destOrd="0" presId="urn:microsoft.com/office/officeart/2008/layout/VerticalCurvedList"/>
    <dgm:cxn modelId="{11F80CFA-FC26-47AF-B8FF-23789C0B19E7}" type="presParOf" srcId="{10D97C5B-BA88-4603-BEB8-816B9E26E1E0}" destId="{EBBCF617-4DDB-47D0-98C7-99413FA904B7}" srcOrd="0" destOrd="0" presId="urn:microsoft.com/office/officeart/2008/layout/VerticalCurvedList"/>
    <dgm:cxn modelId="{836A39D9-5944-4720-B3E6-7BCE799B89E2}" type="presParOf" srcId="{43AFC4E7-46DA-4B7B-B201-0A406A05CAD2}" destId="{B33E6E9D-CEE0-4253-A8E7-0BD98EFB662C}" srcOrd="3" destOrd="0" presId="urn:microsoft.com/office/officeart/2008/layout/VerticalCurvedList"/>
    <dgm:cxn modelId="{28FAC628-EAF7-458F-8FC8-2E6D06CD18DF}" type="presParOf" srcId="{43AFC4E7-46DA-4B7B-B201-0A406A05CAD2}" destId="{0C3100F7-B06F-4D61-8952-72DDA3F196CC}" srcOrd="4" destOrd="0" presId="urn:microsoft.com/office/officeart/2008/layout/VerticalCurvedList"/>
    <dgm:cxn modelId="{5981D64E-0D0F-4345-9325-0A2048BBF95C}" type="presParOf" srcId="{0C3100F7-B06F-4D61-8952-72DDA3F196CC}" destId="{7A113706-4115-4E46-A0DB-BB2E4C947383}" srcOrd="0" destOrd="0" presId="urn:microsoft.com/office/officeart/2008/layout/VerticalCurvedList"/>
    <dgm:cxn modelId="{09D23B74-7A8F-4342-B495-0EE9E095195D}" type="presParOf" srcId="{43AFC4E7-46DA-4B7B-B201-0A406A05CAD2}" destId="{CD0934E8-FFC7-4C4F-89BE-AC8E748C473B}" srcOrd="5" destOrd="0" presId="urn:microsoft.com/office/officeart/2008/layout/VerticalCurvedList"/>
    <dgm:cxn modelId="{96F4FBD0-2295-4E86-9954-52CBBBF174FB}" type="presParOf" srcId="{43AFC4E7-46DA-4B7B-B201-0A406A05CAD2}" destId="{E9561BC4-D00A-48CE-8C8A-EEF31BA7E3DC}" srcOrd="6" destOrd="0" presId="urn:microsoft.com/office/officeart/2008/layout/VerticalCurvedList"/>
    <dgm:cxn modelId="{21DBAF6F-8540-445C-B36E-D227B372AEA0}" type="presParOf" srcId="{E9561BC4-D00A-48CE-8C8A-EEF31BA7E3DC}" destId="{0692BF8D-B063-4580-8A2D-225A14481CCD}" srcOrd="0" destOrd="0" presId="urn:microsoft.com/office/officeart/2008/layout/VerticalCurvedList"/>
    <dgm:cxn modelId="{ECA277E4-FC71-4990-8F23-53EFE73C6E16}" type="presParOf" srcId="{43AFC4E7-46DA-4B7B-B201-0A406A05CAD2}" destId="{A130CA03-71CB-414D-840B-5B6A74283EA0}" srcOrd="7" destOrd="0" presId="urn:microsoft.com/office/officeart/2008/layout/VerticalCurvedList"/>
    <dgm:cxn modelId="{4BAD613C-8249-4322-BE88-82C0DC2FB742}" type="presParOf" srcId="{43AFC4E7-46DA-4B7B-B201-0A406A05CAD2}" destId="{D937CBB2-ED3F-4237-9CE7-8530AF6E9C0D}" srcOrd="8" destOrd="0" presId="urn:microsoft.com/office/officeart/2008/layout/VerticalCurvedList"/>
    <dgm:cxn modelId="{9E15BC43-FE9D-4EAD-8921-8973B79B0997}" type="presParOf" srcId="{D937CBB2-ED3F-4237-9CE7-8530AF6E9C0D}" destId="{D60F798E-526C-4126-9782-B35CCE9CE8B1}" srcOrd="0" destOrd="0" presId="urn:microsoft.com/office/officeart/2008/layout/VerticalCurvedList"/>
    <dgm:cxn modelId="{B20D0255-4ECA-448D-AE22-85584A3191CE}" type="presParOf" srcId="{43AFC4E7-46DA-4B7B-B201-0A406A05CAD2}" destId="{21DC1980-00DC-4CF7-95B2-732EEE3E3F6A}" srcOrd="9" destOrd="0" presId="urn:microsoft.com/office/officeart/2008/layout/VerticalCurvedList"/>
    <dgm:cxn modelId="{20BA8082-79B1-42BC-9222-0F7914181D95}" type="presParOf" srcId="{43AFC4E7-46DA-4B7B-B201-0A406A05CAD2}" destId="{52DDB14D-B001-4BDB-B2BD-E4F4785CF4F4}" srcOrd="10" destOrd="0" presId="urn:microsoft.com/office/officeart/2008/layout/VerticalCurvedList"/>
    <dgm:cxn modelId="{A1CC99B9-65D6-42AB-9624-69FF794D1BEB}" type="presParOf" srcId="{52DDB14D-B001-4BDB-B2BD-E4F4785CF4F4}" destId="{1CAC461D-769E-43F1-85D8-A86E37EE9368}" srcOrd="0" destOrd="0" presId="urn:microsoft.com/office/officeart/2008/layout/VerticalCurvedList"/>
    <dgm:cxn modelId="{BFC3BC3F-4493-425A-91FA-A798C1196D6B}" type="presParOf" srcId="{43AFC4E7-46DA-4B7B-B201-0A406A05CAD2}" destId="{90DEF82D-19AE-4AD6-85C9-882AA6979A47}" srcOrd="11" destOrd="0" presId="urn:microsoft.com/office/officeart/2008/layout/VerticalCurvedList"/>
    <dgm:cxn modelId="{2CE4D9EE-5D8D-4A99-A9B0-A307A7EE56FE}" type="presParOf" srcId="{43AFC4E7-46DA-4B7B-B201-0A406A05CAD2}" destId="{24443A18-902C-46C8-9159-72852470E469}" srcOrd="12" destOrd="0" presId="urn:microsoft.com/office/officeart/2008/layout/VerticalCurvedList"/>
    <dgm:cxn modelId="{55B2A387-7F95-4EB8-A255-6F1A5CBFA33F}" type="presParOf" srcId="{24443A18-902C-46C8-9159-72852470E469}" destId="{5B1F49EF-F46F-4EB0-87B2-B210B7586130}" srcOrd="0" destOrd="0" presId="urn:microsoft.com/office/officeart/2008/layout/VerticalCurvedList"/>
    <dgm:cxn modelId="{759099AA-7A63-45DE-A601-D86362D16F4C}" type="presParOf" srcId="{43AFC4E7-46DA-4B7B-B201-0A406A05CAD2}" destId="{BF5F14BC-780E-439D-8CCE-B939CA6246CF}" srcOrd="13" destOrd="0" presId="urn:microsoft.com/office/officeart/2008/layout/VerticalCurvedList"/>
    <dgm:cxn modelId="{DC1A0DDB-EF61-48B9-BBD4-67B38A81E388}" type="presParOf" srcId="{43AFC4E7-46DA-4B7B-B201-0A406A05CAD2}" destId="{9C39E1B9-7EF7-4037-AC94-A53D7AE2CF83}" srcOrd="14" destOrd="0" presId="urn:microsoft.com/office/officeart/2008/layout/VerticalCurvedList"/>
    <dgm:cxn modelId="{01403FB2-C7EE-4B71-98C7-6129E0300D67}" type="presParOf" srcId="{9C39E1B9-7EF7-4037-AC94-A53D7AE2CF83}" destId="{5AF5E7EE-A04D-40FC-8300-CF20EEE80831}" srcOrd="0" destOrd="0" presId="urn:microsoft.com/office/officeart/2008/layout/VerticalCurvedList"/>
  </dgm:cxnLst>
  <dgm:bg/>
  <dgm:whole/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 smtClean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 smtClean="0"/>
            <a:t>Rapport financier de l’année 2016-2017</a:t>
          </a:r>
          <a:endParaRPr lang="fr-FR" dirty="0"/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 smtClean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 smtClean="0"/>
            <a:t>Budget de l’année 2017-2018</a:t>
          </a:r>
          <a:endParaRPr lang="fr-FR" dirty="0"/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83D21C19-9BBA-47CD-A28C-78897E292876}">
      <dgm:prSet/>
      <dgm:spPr/>
      <dgm:t>
        <a:bodyPr/>
        <a:lstStyle/>
        <a:p>
          <a:r>
            <a:rPr lang="fr-FR" dirty="0" smtClean="0"/>
            <a:t>Présentation du Partenariat avec « LA RESIDENCE »</a:t>
          </a:r>
          <a:endParaRPr lang="fr-FR" dirty="0"/>
        </a:p>
      </dgm:t>
    </dgm:pt>
    <dgm:pt modelId="{F9DB217B-EB6D-4135-A0AB-5FC58BB54940}" type="parTrans" cxnId="{A7094E9D-F5FE-495F-B0F2-32CEF9128CBD}">
      <dgm:prSet/>
      <dgm:spPr/>
      <dgm:t>
        <a:bodyPr/>
        <a:lstStyle/>
        <a:p>
          <a:endParaRPr lang="fr-FR"/>
        </a:p>
      </dgm:t>
    </dgm:pt>
    <dgm:pt modelId="{2147E029-686C-49DF-B4DE-CF8BF24A4A37}" type="sibTrans" cxnId="{A7094E9D-F5FE-495F-B0F2-32CEF9128CBD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 smtClean="0"/>
            <a:t>Interventions des Invités présents</a:t>
          </a:r>
          <a:endParaRPr lang="fr-FR" dirty="0"/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dirty="0" smtClean="0"/>
            <a:t>Les rendez-vous 2017-2018</a:t>
          </a:r>
        </a:p>
      </dgm:t>
    </dgm:pt>
    <dgm:pt modelId="{57F13D37-A893-4898-8E27-67A829686B6A}" type="parTrans" cxnId="{051A02E2-A13E-46A9-94BA-D97943568D2C}">
      <dgm:prSet/>
      <dgm:spPr/>
    </dgm:pt>
    <dgm:pt modelId="{2E2E54F7-C5CC-4881-AD5B-155C1DBB1F1E}" type="sibTrans" cxnId="{051A02E2-A13E-46A9-94BA-D97943568D2C}">
      <dgm:prSet/>
      <dgm:spPr/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43AFC4E7-46DA-4B7B-B201-0A406A05CAD2}" type="pres">
      <dgm:prSet presAssocID="{F010CF21-4A6D-44EF-A02C-3D5169816247}" presName="Name1" presStyleCnt="0"/>
      <dgm:spPr/>
      <dgm:t>
        <a:bodyPr/>
        <a:lstStyle/>
        <a:p>
          <a:endParaRPr lang="fr-FR"/>
        </a:p>
      </dgm:t>
    </dgm:pt>
    <dgm:pt modelId="{C89A3969-C068-41DF-977E-ED5F7B6D0CE6}" type="pres">
      <dgm:prSet presAssocID="{F010CF21-4A6D-44EF-A02C-3D5169816247}" presName="cycle" presStyleCnt="0"/>
      <dgm:spPr/>
      <dgm:t>
        <a:bodyPr/>
        <a:lstStyle/>
        <a:p>
          <a:endParaRPr lang="fr-FR"/>
        </a:p>
      </dgm:t>
    </dgm:pt>
    <dgm:pt modelId="{36B09AF6-20B6-459B-86E4-BA1ECCD29B61}" type="pres">
      <dgm:prSet presAssocID="{F010CF21-4A6D-44EF-A02C-3D5169816247}" presName="srcNode" presStyleLbl="node1" presStyleIdx="0" presStyleCnt="7"/>
      <dgm:spPr/>
      <dgm:t>
        <a:bodyPr/>
        <a:lstStyle/>
        <a:p>
          <a:endParaRPr lang="fr-FR"/>
        </a:p>
      </dgm:t>
    </dgm:pt>
    <dgm:pt modelId="{6940BDDF-1FEF-41BF-B9E9-0FFE3926A970}" type="pres">
      <dgm:prSet presAssocID="{F010CF21-4A6D-44EF-A02C-3D5169816247}" presName="conn" presStyleLbl="parChTrans1D2" presStyleIdx="0" presStyleCnt="1"/>
      <dgm:spPr/>
      <dgm:t>
        <a:bodyPr/>
        <a:lstStyle/>
        <a:p>
          <a:endParaRPr lang="fr-FR"/>
        </a:p>
      </dgm:t>
    </dgm:pt>
    <dgm:pt modelId="{CF948C64-B606-46D3-AF0E-5C95CC7F1D42}" type="pres">
      <dgm:prSet presAssocID="{F010CF21-4A6D-44EF-A02C-3D5169816247}" presName="extraNode" presStyleLbl="node1" presStyleIdx="0" presStyleCnt="7"/>
      <dgm:spPr/>
      <dgm:t>
        <a:bodyPr/>
        <a:lstStyle/>
        <a:p>
          <a:endParaRPr lang="fr-FR"/>
        </a:p>
      </dgm:t>
    </dgm:pt>
    <dgm:pt modelId="{4485BF69-EF87-4AEE-AFDF-DE2F8D2ACCD9}" type="pres">
      <dgm:prSet presAssocID="{F010CF21-4A6D-44EF-A02C-3D5169816247}" presName="dstNode" presStyleLbl="node1" presStyleIdx="0" presStyleCnt="7"/>
      <dgm:spPr/>
      <dgm:t>
        <a:bodyPr/>
        <a:lstStyle/>
        <a:p>
          <a:endParaRPr lang="fr-FR"/>
        </a:p>
      </dgm:t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97C5B-BA88-4603-BEB8-816B9E26E1E0}" type="pres">
      <dgm:prSet presAssocID="{59788018-3182-43A3-8988-94BE0745A02A}" presName="accent_1" presStyleCnt="0"/>
      <dgm:spPr/>
      <dgm:t>
        <a:bodyPr/>
        <a:lstStyle/>
        <a:p>
          <a:endParaRPr lang="fr-FR"/>
        </a:p>
      </dgm:t>
    </dgm:pt>
    <dgm:pt modelId="{EBBCF617-4DDB-47D0-98C7-99413FA904B7}" type="pres">
      <dgm:prSet presAssocID="{59788018-3182-43A3-8988-94BE0745A02A}" presName="accentRepeatNode" presStyleLbl="solidFgAcc1" presStyleIdx="0" presStyleCnt="7"/>
      <dgm:spPr/>
      <dgm:t>
        <a:bodyPr/>
        <a:lstStyle/>
        <a:p>
          <a:endParaRPr lang="fr-FR"/>
        </a:p>
      </dgm:t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100F7-B06F-4D61-8952-72DDA3F196CC}" type="pres">
      <dgm:prSet presAssocID="{B9A48CF8-D428-45D1-8969-FBBF15BE7DBA}" presName="accent_2" presStyleCnt="0"/>
      <dgm:spPr/>
      <dgm:t>
        <a:bodyPr/>
        <a:lstStyle/>
        <a:p>
          <a:endParaRPr lang="fr-FR"/>
        </a:p>
      </dgm:t>
    </dgm:pt>
    <dgm:pt modelId="{7A113706-4115-4E46-A0DB-BB2E4C947383}" type="pres">
      <dgm:prSet presAssocID="{B9A48CF8-D428-45D1-8969-FBBF15BE7DBA}" presName="accentRepeatNode" presStyleLbl="solidFgAcc1" presStyleIdx="1" presStyleCnt="7"/>
      <dgm:spPr/>
      <dgm:t>
        <a:bodyPr/>
        <a:lstStyle/>
        <a:p>
          <a:endParaRPr lang="fr-FR"/>
        </a:p>
      </dgm:t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61BC4-D00A-48CE-8C8A-EEF31BA7E3DC}" type="pres">
      <dgm:prSet presAssocID="{2950704D-F612-46DF-93DB-38562274CE0A}" presName="accent_3" presStyleCnt="0"/>
      <dgm:spPr/>
      <dgm:t>
        <a:bodyPr/>
        <a:lstStyle/>
        <a:p>
          <a:endParaRPr lang="fr-FR"/>
        </a:p>
      </dgm:t>
    </dgm:pt>
    <dgm:pt modelId="{0692BF8D-B063-4580-8A2D-225A14481CCD}" type="pres">
      <dgm:prSet presAssocID="{2950704D-F612-46DF-93DB-38562274CE0A}" presName="accentRepeatNode" presStyleLbl="solidFgAcc1" presStyleIdx="2" presStyleCnt="7"/>
      <dgm:spPr/>
      <dgm:t>
        <a:bodyPr/>
        <a:lstStyle/>
        <a:p>
          <a:endParaRPr lang="fr-FR"/>
        </a:p>
      </dgm:t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  <dgm:t>
        <a:bodyPr/>
        <a:lstStyle/>
        <a:p>
          <a:endParaRPr lang="fr-FR"/>
        </a:p>
      </dgm:t>
    </dgm:pt>
    <dgm:pt modelId="{90DEF82D-19AE-4AD6-85C9-882AA6979A47}" type="pres">
      <dgm:prSet presAssocID="{83D21C19-9BBA-47CD-A28C-78897E292876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4443A18-902C-46C8-9159-72852470E469}" type="pres">
      <dgm:prSet presAssocID="{83D21C19-9BBA-47CD-A28C-78897E292876}" presName="accent_6" presStyleCnt="0"/>
      <dgm:spPr/>
    </dgm:pt>
    <dgm:pt modelId="{5B1F49EF-F46F-4EB0-87B2-B210B7586130}" type="pres">
      <dgm:prSet presAssocID="{83D21C19-9BBA-47CD-A28C-78897E292876}" presName="accentRepeatNode" presStyleLbl="solidFgAcc1" presStyleIdx="5" presStyleCnt="7"/>
      <dgm:spPr/>
    </dgm:pt>
    <dgm:pt modelId="{BF5F14BC-780E-439D-8CCE-B939CA6246CF}" type="pres">
      <dgm:prSet presAssocID="{414797EB-74B4-4291-AF3E-06BCA64CF6B6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C39E1B9-7EF7-4037-AC94-A53D7AE2CF83}" type="pres">
      <dgm:prSet presAssocID="{414797EB-74B4-4291-AF3E-06BCA64CF6B6}" presName="accent_7" presStyleCnt="0"/>
      <dgm:spPr/>
    </dgm:pt>
    <dgm:pt modelId="{5AF5E7EE-A04D-40FC-8300-CF20EEE80831}" type="pres">
      <dgm:prSet presAssocID="{414797EB-74B4-4291-AF3E-06BCA64CF6B6}" presName="accentRepeatNode" presStyleLbl="solidFgAcc1" presStyleIdx="6" presStyleCnt="7"/>
      <dgm:spPr/>
    </dgm:pt>
  </dgm:ptLst>
  <dgm:cxnLst>
    <dgm:cxn modelId="{89D8E702-2B9D-434B-859C-4224FEF6645E}" type="presOf" srcId="{83D21C19-9BBA-47CD-A28C-78897E292876}" destId="{90DEF82D-19AE-4AD6-85C9-882AA6979A47}" srcOrd="0" destOrd="0" presId="urn:microsoft.com/office/officeart/2008/layout/VerticalCurvedList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34476CC2-794E-4EF8-A188-C91A1277A7A8}" type="presOf" srcId="{B9A48CF8-D428-45D1-8969-FBBF15BE7DBA}" destId="{B33E6E9D-CEE0-4253-A8E7-0BD98EFB662C}" srcOrd="0" destOrd="0" presId="urn:microsoft.com/office/officeart/2008/layout/VerticalCurvedList"/>
    <dgm:cxn modelId="{A7094E9D-F5FE-495F-B0F2-32CEF9128CBD}" srcId="{F010CF21-4A6D-44EF-A02C-3D5169816247}" destId="{83D21C19-9BBA-47CD-A28C-78897E292876}" srcOrd="5" destOrd="0" parTransId="{F9DB217B-EB6D-4135-A0AB-5FC58BB54940}" sibTransId="{2147E029-686C-49DF-B4DE-CF8BF24A4A37}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AA84A914-E993-415F-BF1C-8718C22BC300}" type="presOf" srcId="{5304307F-C466-4740-8475-DADC91075624}" destId="{A130CA03-71CB-414D-840B-5B6A74283EA0}" srcOrd="0" destOrd="0" presId="urn:microsoft.com/office/officeart/2008/layout/VerticalCurvedList"/>
    <dgm:cxn modelId="{BE27CB65-26B2-4AF7-B2D7-8F5F5FFED21F}" type="presOf" srcId="{F562CD0B-E8EB-4DBC-82FD-4F9ECF32E366}" destId="{6940BDDF-1FEF-41BF-B9E9-0FFE3926A970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2568BBFB-8CB6-4070-9A0C-B151D3E3ED5D}" type="presOf" srcId="{59788018-3182-43A3-8988-94BE0745A02A}" destId="{54C74578-773C-4297-A4DE-1398F67BB91C}" srcOrd="0" destOrd="0" presId="urn:microsoft.com/office/officeart/2008/layout/VerticalCurvedList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89E0634C-3785-4BE3-BF4D-798ED2632AE7}" type="presOf" srcId="{2950704D-F612-46DF-93DB-38562274CE0A}" destId="{CD0934E8-FFC7-4C4F-89BE-AC8E748C473B}" srcOrd="0" destOrd="0" presId="urn:microsoft.com/office/officeart/2008/layout/VerticalCurvedList"/>
    <dgm:cxn modelId="{40BA46F3-130E-424E-913F-FD50DCEE2475}" type="presOf" srcId="{445F633E-575C-4AF5-92DD-A71CC7C927A2}" destId="{21DC1980-00DC-4CF7-95B2-732EEE3E3F6A}" srcOrd="0" destOrd="0" presId="urn:microsoft.com/office/officeart/2008/layout/VerticalCurvedList"/>
    <dgm:cxn modelId="{AB3B0090-3D90-4527-BD48-8B0AAEDF0A56}" type="presOf" srcId="{F010CF21-4A6D-44EF-A02C-3D5169816247}" destId="{08449366-2565-4365-85A6-6FD21C00BC0F}" srcOrd="0" destOrd="0" presId="urn:microsoft.com/office/officeart/2008/layout/VerticalCurvedList"/>
    <dgm:cxn modelId="{0281512C-E79C-4333-9D56-2A66E949228F}" srcId="{F010CF21-4A6D-44EF-A02C-3D5169816247}" destId="{414797EB-74B4-4291-AF3E-06BCA64CF6B6}" srcOrd="6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468FD269-2F9F-4226-8F79-126D57C3E352}" type="presOf" srcId="{414797EB-74B4-4291-AF3E-06BCA64CF6B6}" destId="{BF5F14BC-780E-439D-8CCE-B939CA6246CF}" srcOrd="0" destOrd="0" presId="urn:microsoft.com/office/officeart/2008/layout/VerticalCurvedList"/>
    <dgm:cxn modelId="{C666AB23-7155-458A-9A2A-834661949C31}" type="presParOf" srcId="{08449366-2565-4365-85A6-6FD21C00BC0F}" destId="{43AFC4E7-46DA-4B7B-B201-0A406A05CAD2}" srcOrd="0" destOrd="0" presId="urn:microsoft.com/office/officeart/2008/layout/VerticalCurvedList"/>
    <dgm:cxn modelId="{822561CA-B890-4327-A548-039300F9B64E}" type="presParOf" srcId="{43AFC4E7-46DA-4B7B-B201-0A406A05CAD2}" destId="{C89A3969-C068-41DF-977E-ED5F7B6D0CE6}" srcOrd="0" destOrd="0" presId="urn:microsoft.com/office/officeart/2008/layout/VerticalCurvedList"/>
    <dgm:cxn modelId="{26D368F5-8ACD-47E2-BCFB-69A959CE1599}" type="presParOf" srcId="{C89A3969-C068-41DF-977E-ED5F7B6D0CE6}" destId="{36B09AF6-20B6-459B-86E4-BA1ECCD29B61}" srcOrd="0" destOrd="0" presId="urn:microsoft.com/office/officeart/2008/layout/VerticalCurvedList"/>
    <dgm:cxn modelId="{D30D5758-DABE-4C41-A1DA-15C63D944318}" type="presParOf" srcId="{C89A3969-C068-41DF-977E-ED5F7B6D0CE6}" destId="{6940BDDF-1FEF-41BF-B9E9-0FFE3926A970}" srcOrd="1" destOrd="0" presId="urn:microsoft.com/office/officeart/2008/layout/VerticalCurvedList"/>
    <dgm:cxn modelId="{2362CCA9-1756-42A5-9417-560AD387894E}" type="presParOf" srcId="{C89A3969-C068-41DF-977E-ED5F7B6D0CE6}" destId="{CF948C64-B606-46D3-AF0E-5C95CC7F1D42}" srcOrd="2" destOrd="0" presId="urn:microsoft.com/office/officeart/2008/layout/VerticalCurvedList"/>
    <dgm:cxn modelId="{E0D979A7-1678-4352-ACCA-F0EDD8F10504}" type="presParOf" srcId="{C89A3969-C068-41DF-977E-ED5F7B6D0CE6}" destId="{4485BF69-EF87-4AEE-AFDF-DE2F8D2ACCD9}" srcOrd="3" destOrd="0" presId="urn:microsoft.com/office/officeart/2008/layout/VerticalCurvedList"/>
    <dgm:cxn modelId="{4BDEEA43-B706-4455-B2ED-A44F6C2077FA}" type="presParOf" srcId="{43AFC4E7-46DA-4B7B-B201-0A406A05CAD2}" destId="{54C74578-773C-4297-A4DE-1398F67BB91C}" srcOrd="1" destOrd="0" presId="urn:microsoft.com/office/officeart/2008/layout/VerticalCurvedList"/>
    <dgm:cxn modelId="{7CA3BA13-9DC6-4DE9-9571-5461DA45885C}" type="presParOf" srcId="{43AFC4E7-46DA-4B7B-B201-0A406A05CAD2}" destId="{10D97C5B-BA88-4603-BEB8-816B9E26E1E0}" srcOrd="2" destOrd="0" presId="urn:microsoft.com/office/officeart/2008/layout/VerticalCurvedList"/>
    <dgm:cxn modelId="{0C2E20E1-C3FC-487D-9671-071D94970A7C}" type="presParOf" srcId="{10D97C5B-BA88-4603-BEB8-816B9E26E1E0}" destId="{EBBCF617-4DDB-47D0-98C7-99413FA904B7}" srcOrd="0" destOrd="0" presId="urn:microsoft.com/office/officeart/2008/layout/VerticalCurvedList"/>
    <dgm:cxn modelId="{AAE8EE9A-0CAA-42C6-9F20-8C640BA1804C}" type="presParOf" srcId="{43AFC4E7-46DA-4B7B-B201-0A406A05CAD2}" destId="{B33E6E9D-CEE0-4253-A8E7-0BD98EFB662C}" srcOrd="3" destOrd="0" presId="urn:microsoft.com/office/officeart/2008/layout/VerticalCurvedList"/>
    <dgm:cxn modelId="{AB4E2313-5D51-4C75-88D2-B5300085F188}" type="presParOf" srcId="{43AFC4E7-46DA-4B7B-B201-0A406A05CAD2}" destId="{0C3100F7-B06F-4D61-8952-72DDA3F196CC}" srcOrd="4" destOrd="0" presId="urn:microsoft.com/office/officeart/2008/layout/VerticalCurvedList"/>
    <dgm:cxn modelId="{8F6753A9-55C2-45C9-88E8-F570864FC2DD}" type="presParOf" srcId="{0C3100F7-B06F-4D61-8952-72DDA3F196CC}" destId="{7A113706-4115-4E46-A0DB-BB2E4C947383}" srcOrd="0" destOrd="0" presId="urn:microsoft.com/office/officeart/2008/layout/VerticalCurvedList"/>
    <dgm:cxn modelId="{73B348EE-3175-4153-BAF0-743BC1E95A67}" type="presParOf" srcId="{43AFC4E7-46DA-4B7B-B201-0A406A05CAD2}" destId="{CD0934E8-FFC7-4C4F-89BE-AC8E748C473B}" srcOrd="5" destOrd="0" presId="urn:microsoft.com/office/officeart/2008/layout/VerticalCurvedList"/>
    <dgm:cxn modelId="{F05300BE-BCBE-42B4-94B7-F6C577883B23}" type="presParOf" srcId="{43AFC4E7-46DA-4B7B-B201-0A406A05CAD2}" destId="{E9561BC4-D00A-48CE-8C8A-EEF31BA7E3DC}" srcOrd="6" destOrd="0" presId="urn:microsoft.com/office/officeart/2008/layout/VerticalCurvedList"/>
    <dgm:cxn modelId="{185B1134-6797-41B5-B5AD-12EB744ABE43}" type="presParOf" srcId="{E9561BC4-D00A-48CE-8C8A-EEF31BA7E3DC}" destId="{0692BF8D-B063-4580-8A2D-225A14481CCD}" srcOrd="0" destOrd="0" presId="urn:microsoft.com/office/officeart/2008/layout/VerticalCurvedList"/>
    <dgm:cxn modelId="{A458AC06-6CB3-404E-8D2C-CD824DC006DE}" type="presParOf" srcId="{43AFC4E7-46DA-4B7B-B201-0A406A05CAD2}" destId="{A130CA03-71CB-414D-840B-5B6A74283EA0}" srcOrd="7" destOrd="0" presId="urn:microsoft.com/office/officeart/2008/layout/VerticalCurvedList"/>
    <dgm:cxn modelId="{B6A68374-92C9-44A8-9A38-12B55B1E5682}" type="presParOf" srcId="{43AFC4E7-46DA-4B7B-B201-0A406A05CAD2}" destId="{D937CBB2-ED3F-4237-9CE7-8530AF6E9C0D}" srcOrd="8" destOrd="0" presId="urn:microsoft.com/office/officeart/2008/layout/VerticalCurvedList"/>
    <dgm:cxn modelId="{D13D5106-7EC4-4FE4-9F68-90851B9095CC}" type="presParOf" srcId="{D937CBB2-ED3F-4237-9CE7-8530AF6E9C0D}" destId="{D60F798E-526C-4126-9782-B35CCE9CE8B1}" srcOrd="0" destOrd="0" presId="urn:microsoft.com/office/officeart/2008/layout/VerticalCurvedList"/>
    <dgm:cxn modelId="{9F2CF976-3A12-4907-9F38-B77EF3B14217}" type="presParOf" srcId="{43AFC4E7-46DA-4B7B-B201-0A406A05CAD2}" destId="{21DC1980-00DC-4CF7-95B2-732EEE3E3F6A}" srcOrd="9" destOrd="0" presId="urn:microsoft.com/office/officeart/2008/layout/VerticalCurvedList"/>
    <dgm:cxn modelId="{E2AD889F-4917-441F-8F43-AC75A783F3D3}" type="presParOf" srcId="{43AFC4E7-46DA-4B7B-B201-0A406A05CAD2}" destId="{52DDB14D-B001-4BDB-B2BD-E4F4785CF4F4}" srcOrd="10" destOrd="0" presId="urn:microsoft.com/office/officeart/2008/layout/VerticalCurvedList"/>
    <dgm:cxn modelId="{E4BD9D62-6FEE-4C35-B16C-BA6BC839114C}" type="presParOf" srcId="{52DDB14D-B001-4BDB-B2BD-E4F4785CF4F4}" destId="{1CAC461D-769E-43F1-85D8-A86E37EE9368}" srcOrd="0" destOrd="0" presId="urn:microsoft.com/office/officeart/2008/layout/VerticalCurvedList"/>
    <dgm:cxn modelId="{89704A08-7A66-4DC2-9487-1D37BB136DA1}" type="presParOf" srcId="{43AFC4E7-46DA-4B7B-B201-0A406A05CAD2}" destId="{90DEF82D-19AE-4AD6-85C9-882AA6979A47}" srcOrd="11" destOrd="0" presId="urn:microsoft.com/office/officeart/2008/layout/VerticalCurvedList"/>
    <dgm:cxn modelId="{A96A2342-8A77-42AD-AF62-0E990DFFEAC9}" type="presParOf" srcId="{43AFC4E7-46DA-4B7B-B201-0A406A05CAD2}" destId="{24443A18-902C-46C8-9159-72852470E469}" srcOrd="12" destOrd="0" presId="urn:microsoft.com/office/officeart/2008/layout/VerticalCurvedList"/>
    <dgm:cxn modelId="{9E5B78BA-AD22-41AB-9533-F40303FF6D0D}" type="presParOf" srcId="{24443A18-902C-46C8-9159-72852470E469}" destId="{5B1F49EF-F46F-4EB0-87B2-B210B7586130}" srcOrd="0" destOrd="0" presId="urn:microsoft.com/office/officeart/2008/layout/VerticalCurvedList"/>
    <dgm:cxn modelId="{CEBBB029-4144-4052-B21A-802738A26CE1}" type="presParOf" srcId="{43AFC4E7-46DA-4B7B-B201-0A406A05CAD2}" destId="{BF5F14BC-780E-439D-8CCE-B939CA6246CF}" srcOrd="13" destOrd="0" presId="urn:microsoft.com/office/officeart/2008/layout/VerticalCurvedList"/>
    <dgm:cxn modelId="{FC9C515D-F06B-4CD3-97E6-B61F824EB99D}" type="presParOf" srcId="{43AFC4E7-46DA-4B7B-B201-0A406A05CAD2}" destId="{9C39E1B9-7EF7-4037-AC94-A53D7AE2CF83}" srcOrd="14" destOrd="0" presId="urn:microsoft.com/office/officeart/2008/layout/VerticalCurvedList"/>
    <dgm:cxn modelId="{86B274B2-5542-4B69-B292-2E543DA2DBAD}" type="presParOf" srcId="{9C39E1B9-7EF7-4037-AC94-A53D7AE2CF83}" destId="{5AF5E7EE-A04D-40FC-8300-CF20EEE80831}" srcOrd="0" destOrd="0" presId="urn:microsoft.com/office/officeart/2008/layout/VerticalCurvedList"/>
  </dgm:cxnLst>
  <dgm:bg/>
  <dgm:whole/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 smtClean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 smtClean="0"/>
            <a:t>Rapport financier de l’année 2016-2017</a:t>
          </a:r>
          <a:endParaRPr lang="fr-FR" dirty="0"/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 smtClean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 smtClean="0"/>
            <a:t>Budget de l’année 2017-2018</a:t>
          </a:r>
          <a:endParaRPr lang="fr-FR" dirty="0"/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83D21C19-9BBA-47CD-A28C-78897E292876}">
      <dgm:prSet/>
      <dgm:spPr/>
      <dgm:t>
        <a:bodyPr/>
        <a:lstStyle/>
        <a:p>
          <a:r>
            <a:rPr lang="fr-FR" dirty="0" smtClean="0"/>
            <a:t>Présentation du Partenariat avec « LA RESIDENCE »</a:t>
          </a:r>
          <a:endParaRPr lang="fr-FR" dirty="0"/>
        </a:p>
      </dgm:t>
    </dgm:pt>
    <dgm:pt modelId="{F9DB217B-EB6D-4135-A0AB-5FC58BB54940}" type="parTrans" cxnId="{A7094E9D-F5FE-495F-B0F2-32CEF9128CBD}">
      <dgm:prSet/>
      <dgm:spPr/>
      <dgm:t>
        <a:bodyPr/>
        <a:lstStyle/>
        <a:p>
          <a:endParaRPr lang="fr-FR"/>
        </a:p>
      </dgm:t>
    </dgm:pt>
    <dgm:pt modelId="{2147E029-686C-49DF-B4DE-CF8BF24A4A37}" type="sibTrans" cxnId="{A7094E9D-F5FE-495F-B0F2-32CEF9128CBD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 smtClean="0"/>
            <a:t>Interventions des Invités présents</a:t>
          </a:r>
          <a:endParaRPr lang="fr-FR" dirty="0"/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dirty="0" smtClean="0"/>
            <a:t>Les rendez-vous 2017-2018</a:t>
          </a:r>
        </a:p>
      </dgm:t>
    </dgm:pt>
    <dgm:pt modelId="{57F13D37-A893-4898-8E27-67A829686B6A}" type="parTrans" cxnId="{051A02E2-A13E-46A9-94BA-D97943568D2C}">
      <dgm:prSet/>
      <dgm:spPr/>
    </dgm:pt>
    <dgm:pt modelId="{2E2E54F7-C5CC-4881-AD5B-155C1DBB1F1E}" type="sibTrans" cxnId="{051A02E2-A13E-46A9-94BA-D97943568D2C}">
      <dgm:prSet/>
      <dgm:spPr/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43AFC4E7-46DA-4B7B-B201-0A406A05CAD2}" type="pres">
      <dgm:prSet presAssocID="{F010CF21-4A6D-44EF-A02C-3D5169816247}" presName="Name1" presStyleCnt="0"/>
      <dgm:spPr/>
      <dgm:t>
        <a:bodyPr/>
        <a:lstStyle/>
        <a:p>
          <a:endParaRPr lang="fr-FR"/>
        </a:p>
      </dgm:t>
    </dgm:pt>
    <dgm:pt modelId="{C89A3969-C068-41DF-977E-ED5F7B6D0CE6}" type="pres">
      <dgm:prSet presAssocID="{F010CF21-4A6D-44EF-A02C-3D5169816247}" presName="cycle" presStyleCnt="0"/>
      <dgm:spPr/>
      <dgm:t>
        <a:bodyPr/>
        <a:lstStyle/>
        <a:p>
          <a:endParaRPr lang="fr-FR"/>
        </a:p>
      </dgm:t>
    </dgm:pt>
    <dgm:pt modelId="{36B09AF6-20B6-459B-86E4-BA1ECCD29B61}" type="pres">
      <dgm:prSet presAssocID="{F010CF21-4A6D-44EF-A02C-3D5169816247}" presName="srcNode" presStyleLbl="node1" presStyleIdx="0" presStyleCnt="7"/>
      <dgm:spPr/>
      <dgm:t>
        <a:bodyPr/>
        <a:lstStyle/>
        <a:p>
          <a:endParaRPr lang="fr-FR"/>
        </a:p>
      </dgm:t>
    </dgm:pt>
    <dgm:pt modelId="{6940BDDF-1FEF-41BF-B9E9-0FFE3926A970}" type="pres">
      <dgm:prSet presAssocID="{F010CF21-4A6D-44EF-A02C-3D5169816247}" presName="conn" presStyleLbl="parChTrans1D2" presStyleIdx="0" presStyleCnt="1"/>
      <dgm:spPr/>
      <dgm:t>
        <a:bodyPr/>
        <a:lstStyle/>
        <a:p>
          <a:endParaRPr lang="fr-FR"/>
        </a:p>
      </dgm:t>
    </dgm:pt>
    <dgm:pt modelId="{CF948C64-B606-46D3-AF0E-5C95CC7F1D42}" type="pres">
      <dgm:prSet presAssocID="{F010CF21-4A6D-44EF-A02C-3D5169816247}" presName="extraNode" presStyleLbl="node1" presStyleIdx="0" presStyleCnt="7"/>
      <dgm:spPr/>
      <dgm:t>
        <a:bodyPr/>
        <a:lstStyle/>
        <a:p>
          <a:endParaRPr lang="fr-FR"/>
        </a:p>
      </dgm:t>
    </dgm:pt>
    <dgm:pt modelId="{4485BF69-EF87-4AEE-AFDF-DE2F8D2ACCD9}" type="pres">
      <dgm:prSet presAssocID="{F010CF21-4A6D-44EF-A02C-3D5169816247}" presName="dstNode" presStyleLbl="node1" presStyleIdx="0" presStyleCnt="7"/>
      <dgm:spPr/>
      <dgm:t>
        <a:bodyPr/>
        <a:lstStyle/>
        <a:p>
          <a:endParaRPr lang="fr-FR"/>
        </a:p>
      </dgm:t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97C5B-BA88-4603-BEB8-816B9E26E1E0}" type="pres">
      <dgm:prSet presAssocID="{59788018-3182-43A3-8988-94BE0745A02A}" presName="accent_1" presStyleCnt="0"/>
      <dgm:spPr/>
      <dgm:t>
        <a:bodyPr/>
        <a:lstStyle/>
        <a:p>
          <a:endParaRPr lang="fr-FR"/>
        </a:p>
      </dgm:t>
    </dgm:pt>
    <dgm:pt modelId="{EBBCF617-4DDB-47D0-98C7-99413FA904B7}" type="pres">
      <dgm:prSet presAssocID="{59788018-3182-43A3-8988-94BE0745A02A}" presName="accentRepeatNode" presStyleLbl="solidFgAcc1" presStyleIdx="0" presStyleCnt="7"/>
      <dgm:spPr/>
      <dgm:t>
        <a:bodyPr/>
        <a:lstStyle/>
        <a:p>
          <a:endParaRPr lang="fr-FR"/>
        </a:p>
      </dgm:t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100F7-B06F-4D61-8952-72DDA3F196CC}" type="pres">
      <dgm:prSet presAssocID="{B9A48CF8-D428-45D1-8969-FBBF15BE7DBA}" presName="accent_2" presStyleCnt="0"/>
      <dgm:spPr/>
      <dgm:t>
        <a:bodyPr/>
        <a:lstStyle/>
        <a:p>
          <a:endParaRPr lang="fr-FR"/>
        </a:p>
      </dgm:t>
    </dgm:pt>
    <dgm:pt modelId="{7A113706-4115-4E46-A0DB-BB2E4C947383}" type="pres">
      <dgm:prSet presAssocID="{B9A48CF8-D428-45D1-8969-FBBF15BE7DBA}" presName="accentRepeatNode" presStyleLbl="solidFgAcc1" presStyleIdx="1" presStyleCnt="7"/>
      <dgm:spPr/>
      <dgm:t>
        <a:bodyPr/>
        <a:lstStyle/>
        <a:p>
          <a:endParaRPr lang="fr-FR"/>
        </a:p>
      </dgm:t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61BC4-D00A-48CE-8C8A-EEF31BA7E3DC}" type="pres">
      <dgm:prSet presAssocID="{2950704D-F612-46DF-93DB-38562274CE0A}" presName="accent_3" presStyleCnt="0"/>
      <dgm:spPr/>
      <dgm:t>
        <a:bodyPr/>
        <a:lstStyle/>
        <a:p>
          <a:endParaRPr lang="fr-FR"/>
        </a:p>
      </dgm:t>
    </dgm:pt>
    <dgm:pt modelId="{0692BF8D-B063-4580-8A2D-225A14481CCD}" type="pres">
      <dgm:prSet presAssocID="{2950704D-F612-46DF-93DB-38562274CE0A}" presName="accentRepeatNode" presStyleLbl="solidFgAcc1" presStyleIdx="2" presStyleCnt="7"/>
      <dgm:spPr/>
      <dgm:t>
        <a:bodyPr/>
        <a:lstStyle/>
        <a:p>
          <a:endParaRPr lang="fr-FR"/>
        </a:p>
      </dgm:t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  <dgm:t>
        <a:bodyPr/>
        <a:lstStyle/>
        <a:p>
          <a:endParaRPr lang="fr-FR"/>
        </a:p>
      </dgm:t>
    </dgm:pt>
    <dgm:pt modelId="{90DEF82D-19AE-4AD6-85C9-882AA6979A47}" type="pres">
      <dgm:prSet presAssocID="{83D21C19-9BBA-47CD-A28C-78897E292876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4443A18-902C-46C8-9159-72852470E469}" type="pres">
      <dgm:prSet presAssocID="{83D21C19-9BBA-47CD-A28C-78897E292876}" presName="accent_6" presStyleCnt="0"/>
      <dgm:spPr/>
    </dgm:pt>
    <dgm:pt modelId="{5B1F49EF-F46F-4EB0-87B2-B210B7586130}" type="pres">
      <dgm:prSet presAssocID="{83D21C19-9BBA-47CD-A28C-78897E292876}" presName="accentRepeatNode" presStyleLbl="solidFgAcc1" presStyleIdx="5" presStyleCnt="7"/>
      <dgm:spPr/>
    </dgm:pt>
    <dgm:pt modelId="{BF5F14BC-780E-439D-8CCE-B939CA6246CF}" type="pres">
      <dgm:prSet presAssocID="{414797EB-74B4-4291-AF3E-06BCA64CF6B6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C39E1B9-7EF7-4037-AC94-A53D7AE2CF83}" type="pres">
      <dgm:prSet presAssocID="{414797EB-74B4-4291-AF3E-06BCA64CF6B6}" presName="accent_7" presStyleCnt="0"/>
      <dgm:spPr/>
    </dgm:pt>
    <dgm:pt modelId="{5AF5E7EE-A04D-40FC-8300-CF20EEE80831}" type="pres">
      <dgm:prSet presAssocID="{414797EB-74B4-4291-AF3E-06BCA64CF6B6}" presName="accentRepeatNode" presStyleLbl="solidFgAcc1" presStyleIdx="6" presStyleCnt="7"/>
      <dgm:spPr/>
    </dgm:pt>
  </dgm:ptLst>
  <dgm:cxnLst>
    <dgm:cxn modelId="{67D28E51-6C4D-48C8-8C95-D92A3FD62574}" type="presOf" srcId="{83D21C19-9BBA-47CD-A28C-78897E292876}" destId="{90DEF82D-19AE-4AD6-85C9-882AA6979A47}" srcOrd="0" destOrd="0" presId="urn:microsoft.com/office/officeart/2008/layout/VerticalCurvedList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A4E22D7A-98E7-4094-AA99-49B5DB41B803}" type="presOf" srcId="{F562CD0B-E8EB-4DBC-82FD-4F9ECF32E366}" destId="{6940BDDF-1FEF-41BF-B9E9-0FFE3926A970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0281512C-E79C-4333-9D56-2A66E949228F}" srcId="{F010CF21-4A6D-44EF-A02C-3D5169816247}" destId="{414797EB-74B4-4291-AF3E-06BCA64CF6B6}" srcOrd="6" destOrd="0" parTransId="{D9EEC982-6F8E-415B-9E6B-101927331BD8}" sibTransId="{3124CA87-5240-449D-93B8-646AA320F84C}"/>
    <dgm:cxn modelId="{B8F9DECD-4EAE-4B45-8439-ED524405C6C8}" type="presOf" srcId="{B9A48CF8-D428-45D1-8969-FBBF15BE7DBA}" destId="{B33E6E9D-CEE0-4253-A8E7-0BD98EFB662C}" srcOrd="0" destOrd="0" presId="urn:microsoft.com/office/officeart/2008/layout/VerticalCurvedList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AE10C25A-D8BE-4260-9B60-56AD1434F214}" type="presOf" srcId="{445F633E-575C-4AF5-92DD-A71CC7C927A2}" destId="{21DC1980-00DC-4CF7-95B2-732EEE3E3F6A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89D88D9E-B555-4BEC-AB2D-EA4342CA3344}" type="presOf" srcId="{F010CF21-4A6D-44EF-A02C-3D5169816247}" destId="{08449366-2565-4365-85A6-6FD21C00BC0F}" srcOrd="0" destOrd="0" presId="urn:microsoft.com/office/officeart/2008/layout/VerticalCurvedList"/>
    <dgm:cxn modelId="{DC881697-8DC1-4CD8-A2AF-E1F800125C30}" type="presOf" srcId="{414797EB-74B4-4291-AF3E-06BCA64CF6B6}" destId="{BF5F14BC-780E-439D-8CCE-B939CA6246CF}" srcOrd="0" destOrd="0" presId="urn:microsoft.com/office/officeart/2008/layout/VerticalCurvedList"/>
    <dgm:cxn modelId="{550C25D4-FE40-42AC-B32E-A91D673FCCB5}" type="presOf" srcId="{59788018-3182-43A3-8988-94BE0745A02A}" destId="{54C74578-773C-4297-A4DE-1398F67BB91C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E8DB7073-6A80-4ED7-A7C5-70E11628D976}" type="presOf" srcId="{2950704D-F612-46DF-93DB-38562274CE0A}" destId="{CD0934E8-FFC7-4C4F-89BE-AC8E748C473B}" srcOrd="0" destOrd="0" presId="urn:microsoft.com/office/officeart/2008/layout/VerticalCurvedList"/>
    <dgm:cxn modelId="{D13AC0A3-2BEC-436C-A765-E03A8C5A8CA2}" type="presOf" srcId="{5304307F-C466-4740-8475-DADC91075624}" destId="{A130CA03-71CB-414D-840B-5B6A74283EA0}" srcOrd="0" destOrd="0" presId="urn:microsoft.com/office/officeart/2008/layout/VerticalCurvedList"/>
    <dgm:cxn modelId="{A7094E9D-F5FE-495F-B0F2-32CEF9128CBD}" srcId="{F010CF21-4A6D-44EF-A02C-3D5169816247}" destId="{83D21C19-9BBA-47CD-A28C-78897E292876}" srcOrd="5" destOrd="0" parTransId="{F9DB217B-EB6D-4135-A0AB-5FC58BB54940}" sibTransId="{2147E029-686C-49DF-B4DE-CF8BF24A4A37}"/>
    <dgm:cxn modelId="{F3343B79-BD92-4464-BB54-47A58BA73CBB}" type="presParOf" srcId="{08449366-2565-4365-85A6-6FD21C00BC0F}" destId="{43AFC4E7-46DA-4B7B-B201-0A406A05CAD2}" srcOrd="0" destOrd="0" presId="urn:microsoft.com/office/officeart/2008/layout/VerticalCurvedList"/>
    <dgm:cxn modelId="{63E6D5B9-C0FF-4005-9207-E167DA685627}" type="presParOf" srcId="{43AFC4E7-46DA-4B7B-B201-0A406A05CAD2}" destId="{C89A3969-C068-41DF-977E-ED5F7B6D0CE6}" srcOrd="0" destOrd="0" presId="urn:microsoft.com/office/officeart/2008/layout/VerticalCurvedList"/>
    <dgm:cxn modelId="{E89DD3B4-82C4-4C9B-8595-350946236416}" type="presParOf" srcId="{C89A3969-C068-41DF-977E-ED5F7B6D0CE6}" destId="{36B09AF6-20B6-459B-86E4-BA1ECCD29B61}" srcOrd="0" destOrd="0" presId="urn:microsoft.com/office/officeart/2008/layout/VerticalCurvedList"/>
    <dgm:cxn modelId="{EC514E29-2D67-4050-8C7B-53631982718F}" type="presParOf" srcId="{C89A3969-C068-41DF-977E-ED5F7B6D0CE6}" destId="{6940BDDF-1FEF-41BF-B9E9-0FFE3926A970}" srcOrd="1" destOrd="0" presId="urn:microsoft.com/office/officeart/2008/layout/VerticalCurvedList"/>
    <dgm:cxn modelId="{E256F325-1EEB-4964-8478-E42C051E7D4F}" type="presParOf" srcId="{C89A3969-C068-41DF-977E-ED5F7B6D0CE6}" destId="{CF948C64-B606-46D3-AF0E-5C95CC7F1D42}" srcOrd="2" destOrd="0" presId="urn:microsoft.com/office/officeart/2008/layout/VerticalCurvedList"/>
    <dgm:cxn modelId="{6A4F7B57-A849-4488-B783-D2D27BD5DCAB}" type="presParOf" srcId="{C89A3969-C068-41DF-977E-ED5F7B6D0CE6}" destId="{4485BF69-EF87-4AEE-AFDF-DE2F8D2ACCD9}" srcOrd="3" destOrd="0" presId="urn:microsoft.com/office/officeart/2008/layout/VerticalCurvedList"/>
    <dgm:cxn modelId="{7BB2F250-B89F-4FE7-8830-84FB862B1917}" type="presParOf" srcId="{43AFC4E7-46DA-4B7B-B201-0A406A05CAD2}" destId="{54C74578-773C-4297-A4DE-1398F67BB91C}" srcOrd="1" destOrd="0" presId="urn:microsoft.com/office/officeart/2008/layout/VerticalCurvedList"/>
    <dgm:cxn modelId="{6C002B38-F7EE-4F27-ABD6-93C1E0E75C69}" type="presParOf" srcId="{43AFC4E7-46DA-4B7B-B201-0A406A05CAD2}" destId="{10D97C5B-BA88-4603-BEB8-816B9E26E1E0}" srcOrd="2" destOrd="0" presId="urn:microsoft.com/office/officeart/2008/layout/VerticalCurvedList"/>
    <dgm:cxn modelId="{140D7A4B-6048-4A4F-9D90-E39DA5D1C535}" type="presParOf" srcId="{10D97C5B-BA88-4603-BEB8-816B9E26E1E0}" destId="{EBBCF617-4DDB-47D0-98C7-99413FA904B7}" srcOrd="0" destOrd="0" presId="urn:microsoft.com/office/officeart/2008/layout/VerticalCurvedList"/>
    <dgm:cxn modelId="{09D6B98E-EAD7-411A-8A22-96F707991606}" type="presParOf" srcId="{43AFC4E7-46DA-4B7B-B201-0A406A05CAD2}" destId="{B33E6E9D-CEE0-4253-A8E7-0BD98EFB662C}" srcOrd="3" destOrd="0" presId="urn:microsoft.com/office/officeart/2008/layout/VerticalCurvedList"/>
    <dgm:cxn modelId="{53DAEEBB-AD0C-4D50-8A68-19FCC2EFAE08}" type="presParOf" srcId="{43AFC4E7-46DA-4B7B-B201-0A406A05CAD2}" destId="{0C3100F7-B06F-4D61-8952-72DDA3F196CC}" srcOrd="4" destOrd="0" presId="urn:microsoft.com/office/officeart/2008/layout/VerticalCurvedList"/>
    <dgm:cxn modelId="{4231124F-4CE1-4274-9176-E4A053197829}" type="presParOf" srcId="{0C3100F7-B06F-4D61-8952-72DDA3F196CC}" destId="{7A113706-4115-4E46-A0DB-BB2E4C947383}" srcOrd="0" destOrd="0" presId="urn:microsoft.com/office/officeart/2008/layout/VerticalCurvedList"/>
    <dgm:cxn modelId="{60586E49-0ACA-4363-8AEC-4C41224D637A}" type="presParOf" srcId="{43AFC4E7-46DA-4B7B-B201-0A406A05CAD2}" destId="{CD0934E8-FFC7-4C4F-89BE-AC8E748C473B}" srcOrd="5" destOrd="0" presId="urn:microsoft.com/office/officeart/2008/layout/VerticalCurvedList"/>
    <dgm:cxn modelId="{845BEAC7-3151-4E32-93F1-F2BC050A9B98}" type="presParOf" srcId="{43AFC4E7-46DA-4B7B-B201-0A406A05CAD2}" destId="{E9561BC4-D00A-48CE-8C8A-EEF31BA7E3DC}" srcOrd="6" destOrd="0" presId="urn:microsoft.com/office/officeart/2008/layout/VerticalCurvedList"/>
    <dgm:cxn modelId="{2FBD487D-4CCB-4AAE-B94B-951E0A8B6D5F}" type="presParOf" srcId="{E9561BC4-D00A-48CE-8C8A-EEF31BA7E3DC}" destId="{0692BF8D-B063-4580-8A2D-225A14481CCD}" srcOrd="0" destOrd="0" presId="urn:microsoft.com/office/officeart/2008/layout/VerticalCurvedList"/>
    <dgm:cxn modelId="{E4B2B8ED-9451-4E60-ACC0-16FF6EECF71F}" type="presParOf" srcId="{43AFC4E7-46DA-4B7B-B201-0A406A05CAD2}" destId="{A130CA03-71CB-414D-840B-5B6A74283EA0}" srcOrd="7" destOrd="0" presId="urn:microsoft.com/office/officeart/2008/layout/VerticalCurvedList"/>
    <dgm:cxn modelId="{9EE6B95F-1D16-44FF-9310-D871B764B0C2}" type="presParOf" srcId="{43AFC4E7-46DA-4B7B-B201-0A406A05CAD2}" destId="{D937CBB2-ED3F-4237-9CE7-8530AF6E9C0D}" srcOrd="8" destOrd="0" presId="urn:microsoft.com/office/officeart/2008/layout/VerticalCurvedList"/>
    <dgm:cxn modelId="{F96BFD99-8F1E-42E2-AEBD-BA48F2FBFF46}" type="presParOf" srcId="{D937CBB2-ED3F-4237-9CE7-8530AF6E9C0D}" destId="{D60F798E-526C-4126-9782-B35CCE9CE8B1}" srcOrd="0" destOrd="0" presId="urn:microsoft.com/office/officeart/2008/layout/VerticalCurvedList"/>
    <dgm:cxn modelId="{5A3EC28E-D150-4E0F-8AF2-D37390EFD6EC}" type="presParOf" srcId="{43AFC4E7-46DA-4B7B-B201-0A406A05CAD2}" destId="{21DC1980-00DC-4CF7-95B2-732EEE3E3F6A}" srcOrd="9" destOrd="0" presId="urn:microsoft.com/office/officeart/2008/layout/VerticalCurvedList"/>
    <dgm:cxn modelId="{2FA11370-C6A1-4149-A946-E1FCE85DE57B}" type="presParOf" srcId="{43AFC4E7-46DA-4B7B-B201-0A406A05CAD2}" destId="{52DDB14D-B001-4BDB-B2BD-E4F4785CF4F4}" srcOrd="10" destOrd="0" presId="urn:microsoft.com/office/officeart/2008/layout/VerticalCurvedList"/>
    <dgm:cxn modelId="{5CDA74A9-0394-4AF7-BA8F-BC109B703EDB}" type="presParOf" srcId="{52DDB14D-B001-4BDB-B2BD-E4F4785CF4F4}" destId="{1CAC461D-769E-43F1-85D8-A86E37EE9368}" srcOrd="0" destOrd="0" presId="urn:microsoft.com/office/officeart/2008/layout/VerticalCurvedList"/>
    <dgm:cxn modelId="{ED88CA90-783C-4321-B11E-F4C9F385FB6C}" type="presParOf" srcId="{43AFC4E7-46DA-4B7B-B201-0A406A05CAD2}" destId="{90DEF82D-19AE-4AD6-85C9-882AA6979A47}" srcOrd="11" destOrd="0" presId="urn:microsoft.com/office/officeart/2008/layout/VerticalCurvedList"/>
    <dgm:cxn modelId="{697BD66F-9C47-4979-BA14-90489BEA34E3}" type="presParOf" srcId="{43AFC4E7-46DA-4B7B-B201-0A406A05CAD2}" destId="{24443A18-902C-46C8-9159-72852470E469}" srcOrd="12" destOrd="0" presId="urn:microsoft.com/office/officeart/2008/layout/VerticalCurvedList"/>
    <dgm:cxn modelId="{BEC7CDE2-09BA-433B-A8FA-78873EAA57C7}" type="presParOf" srcId="{24443A18-902C-46C8-9159-72852470E469}" destId="{5B1F49EF-F46F-4EB0-87B2-B210B7586130}" srcOrd="0" destOrd="0" presId="urn:microsoft.com/office/officeart/2008/layout/VerticalCurvedList"/>
    <dgm:cxn modelId="{AC547ADF-6E48-43AD-8AFE-AC9715FC0101}" type="presParOf" srcId="{43AFC4E7-46DA-4B7B-B201-0A406A05CAD2}" destId="{BF5F14BC-780E-439D-8CCE-B939CA6246CF}" srcOrd="13" destOrd="0" presId="urn:microsoft.com/office/officeart/2008/layout/VerticalCurvedList"/>
    <dgm:cxn modelId="{036DF581-BA82-4DEA-957C-34E23FEEDE49}" type="presParOf" srcId="{43AFC4E7-46DA-4B7B-B201-0A406A05CAD2}" destId="{9C39E1B9-7EF7-4037-AC94-A53D7AE2CF83}" srcOrd="14" destOrd="0" presId="urn:microsoft.com/office/officeart/2008/layout/VerticalCurvedList"/>
    <dgm:cxn modelId="{33718E3C-E1E1-49D6-BA68-B718A699A5EF}" type="presParOf" srcId="{9C39E1B9-7EF7-4037-AC94-A53D7AE2CF83}" destId="{5AF5E7EE-A04D-40FC-8300-CF20EEE80831}" srcOrd="0" destOrd="0" presId="urn:microsoft.com/office/officeart/2008/layout/VerticalCurvedList"/>
  </dgm:cxnLst>
  <dgm:bg/>
  <dgm:whole/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 smtClean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 smtClean="0"/>
            <a:t>Rapport financier de l’année 2016-2017</a:t>
          </a:r>
          <a:endParaRPr lang="fr-FR" dirty="0"/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 smtClean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 smtClean="0"/>
            <a:t>Budget de l’année 2017-2018</a:t>
          </a:r>
          <a:endParaRPr lang="fr-FR" dirty="0"/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83D21C19-9BBA-47CD-A28C-78897E292876}">
      <dgm:prSet/>
      <dgm:spPr/>
      <dgm:t>
        <a:bodyPr/>
        <a:lstStyle/>
        <a:p>
          <a:r>
            <a:rPr lang="fr-FR" dirty="0" smtClean="0"/>
            <a:t>Présentation du Partenariat avec « LA RESIDENCE »</a:t>
          </a:r>
          <a:endParaRPr lang="fr-FR" dirty="0"/>
        </a:p>
      </dgm:t>
    </dgm:pt>
    <dgm:pt modelId="{F9DB217B-EB6D-4135-A0AB-5FC58BB54940}" type="parTrans" cxnId="{A7094E9D-F5FE-495F-B0F2-32CEF9128CBD}">
      <dgm:prSet/>
      <dgm:spPr/>
      <dgm:t>
        <a:bodyPr/>
        <a:lstStyle/>
        <a:p>
          <a:endParaRPr lang="fr-FR"/>
        </a:p>
      </dgm:t>
    </dgm:pt>
    <dgm:pt modelId="{2147E029-686C-49DF-B4DE-CF8BF24A4A37}" type="sibTrans" cxnId="{A7094E9D-F5FE-495F-B0F2-32CEF9128CBD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 smtClean="0"/>
            <a:t>Interventions des Invités présents</a:t>
          </a:r>
          <a:endParaRPr lang="fr-FR" dirty="0"/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dirty="0" smtClean="0"/>
            <a:t>Les rendez-vous 2017-2018</a:t>
          </a:r>
        </a:p>
      </dgm:t>
    </dgm:pt>
    <dgm:pt modelId="{57F13D37-A893-4898-8E27-67A829686B6A}" type="parTrans" cxnId="{051A02E2-A13E-46A9-94BA-D97943568D2C}">
      <dgm:prSet/>
      <dgm:spPr/>
    </dgm:pt>
    <dgm:pt modelId="{2E2E54F7-C5CC-4881-AD5B-155C1DBB1F1E}" type="sibTrans" cxnId="{051A02E2-A13E-46A9-94BA-D97943568D2C}">
      <dgm:prSet/>
      <dgm:spPr/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43AFC4E7-46DA-4B7B-B201-0A406A05CAD2}" type="pres">
      <dgm:prSet presAssocID="{F010CF21-4A6D-44EF-A02C-3D5169816247}" presName="Name1" presStyleCnt="0"/>
      <dgm:spPr/>
      <dgm:t>
        <a:bodyPr/>
        <a:lstStyle/>
        <a:p>
          <a:endParaRPr lang="fr-FR"/>
        </a:p>
      </dgm:t>
    </dgm:pt>
    <dgm:pt modelId="{C89A3969-C068-41DF-977E-ED5F7B6D0CE6}" type="pres">
      <dgm:prSet presAssocID="{F010CF21-4A6D-44EF-A02C-3D5169816247}" presName="cycle" presStyleCnt="0"/>
      <dgm:spPr/>
      <dgm:t>
        <a:bodyPr/>
        <a:lstStyle/>
        <a:p>
          <a:endParaRPr lang="fr-FR"/>
        </a:p>
      </dgm:t>
    </dgm:pt>
    <dgm:pt modelId="{36B09AF6-20B6-459B-86E4-BA1ECCD29B61}" type="pres">
      <dgm:prSet presAssocID="{F010CF21-4A6D-44EF-A02C-3D5169816247}" presName="srcNode" presStyleLbl="node1" presStyleIdx="0" presStyleCnt="7"/>
      <dgm:spPr/>
      <dgm:t>
        <a:bodyPr/>
        <a:lstStyle/>
        <a:p>
          <a:endParaRPr lang="fr-FR"/>
        </a:p>
      </dgm:t>
    </dgm:pt>
    <dgm:pt modelId="{6940BDDF-1FEF-41BF-B9E9-0FFE3926A970}" type="pres">
      <dgm:prSet presAssocID="{F010CF21-4A6D-44EF-A02C-3D5169816247}" presName="conn" presStyleLbl="parChTrans1D2" presStyleIdx="0" presStyleCnt="1"/>
      <dgm:spPr/>
      <dgm:t>
        <a:bodyPr/>
        <a:lstStyle/>
        <a:p>
          <a:endParaRPr lang="fr-FR"/>
        </a:p>
      </dgm:t>
    </dgm:pt>
    <dgm:pt modelId="{CF948C64-B606-46D3-AF0E-5C95CC7F1D42}" type="pres">
      <dgm:prSet presAssocID="{F010CF21-4A6D-44EF-A02C-3D5169816247}" presName="extraNode" presStyleLbl="node1" presStyleIdx="0" presStyleCnt="7"/>
      <dgm:spPr/>
      <dgm:t>
        <a:bodyPr/>
        <a:lstStyle/>
        <a:p>
          <a:endParaRPr lang="fr-FR"/>
        </a:p>
      </dgm:t>
    </dgm:pt>
    <dgm:pt modelId="{4485BF69-EF87-4AEE-AFDF-DE2F8D2ACCD9}" type="pres">
      <dgm:prSet presAssocID="{F010CF21-4A6D-44EF-A02C-3D5169816247}" presName="dstNode" presStyleLbl="node1" presStyleIdx="0" presStyleCnt="7"/>
      <dgm:spPr/>
      <dgm:t>
        <a:bodyPr/>
        <a:lstStyle/>
        <a:p>
          <a:endParaRPr lang="fr-FR"/>
        </a:p>
      </dgm:t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97C5B-BA88-4603-BEB8-816B9E26E1E0}" type="pres">
      <dgm:prSet presAssocID="{59788018-3182-43A3-8988-94BE0745A02A}" presName="accent_1" presStyleCnt="0"/>
      <dgm:spPr/>
      <dgm:t>
        <a:bodyPr/>
        <a:lstStyle/>
        <a:p>
          <a:endParaRPr lang="fr-FR"/>
        </a:p>
      </dgm:t>
    </dgm:pt>
    <dgm:pt modelId="{EBBCF617-4DDB-47D0-98C7-99413FA904B7}" type="pres">
      <dgm:prSet presAssocID="{59788018-3182-43A3-8988-94BE0745A02A}" presName="accentRepeatNode" presStyleLbl="solidFgAcc1" presStyleIdx="0" presStyleCnt="7"/>
      <dgm:spPr/>
      <dgm:t>
        <a:bodyPr/>
        <a:lstStyle/>
        <a:p>
          <a:endParaRPr lang="fr-FR"/>
        </a:p>
      </dgm:t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100F7-B06F-4D61-8952-72DDA3F196CC}" type="pres">
      <dgm:prSet presAssocID="{B9A48CF8-D428-45D1-8969-FBBF15BE7DBA}" presName="accent_2" presStyleCnt="0"/>
      <dgm:spPr/>
      <dgm:t>
        <a:bodyPr/>
        <a:lstStyle/>
        <a:p>
          <a:endParaRPr lang="fr-FR"/>
        </a:p>
      </dgm:t>
    </dgm:pt>
    <dgm:pt modelId="{7A113706-4115-4E46-A0DB-BB2E4C947383}" type="pres">
      <dgm:prSet presAssocID="{B9A48CF8-D428-45D1-8969-FBBF15BE7DBA}" presName="accentRepeatNode" presStyleLbl="solidFgAcc1" presStyleIdx="1" presStyleCnt="7"/>
      <dgm:spPr/>
      <dgm:t>
        <a:bodyPr/>
        <a:lstStyle/>
        <a:p>
          <a:endParaRPr lang="fr-FR"/>
        </a:p>
      </dgm:t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61BC4-D00A-48CE-8C8A-EEF31BA7E3DC}" type="pres">
      <dgm:prSet presAssocID="{2950704D-F612-46DF-93DB-38562274CE0A}" presName="accent_3" presStyleCnt="0"/>
      <dgm:spPr/>
      <dgm:t>
        <a:bodyPr/>
        <a:lstStyle/>
        <a:p>
          <a:endParaRPr lang="fr-FR"/>
        </a:p>
      </dgm:t>
    </dgm:pt>
    <dgm:pt modelId="{0692BF8D-B063-4580-8A2D-225A14481CCD}" type="pres">
      <dgm:prSet presAssocID="{2950704D-F612-46DF-93DB-38562274CE0A}" presName="accentRepeatNode" presStyleLbl="solidFgAcc1" presStyleIdx="2" presStyleCnt="7"/>
      <dgm:spPr/>
      <dgm:t>
        <a:bodyPr/>
        <a:lstStyle/>
        <a:p>
          <a:endParaRPr lang="fr-FR"/>
        </a:p>
      </dgm:t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  <dgm:t>
        <a:bodyPr/>
        <a:lstStyle/>
        <a:p>
          <a:endParaRPr lang="fr-FR"/>
        </a:p>
      </dgm:t>
    </dgm:pt>
    <dgm:pt modelId="{90DEF82D-19AE-4AD6-85C9-882AA6979A47}" type="pres">
      <dgm:prSet presAssocID="{83D21C19-9BBA-47CD-A28C-78897E292876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4443A18-902C-46C8-9159-72852470E469}" type="pres">
      <dgm:prSet presAssocID="{83D21C19-9BBA-47CD-A28C-78897E292876}" presName="accent_6" presStyleCnt="0"/>
      <dgm:spPr/>
    </dgm:pt>
    <dgm:pt modelId="{5B1F49EF-F46F-4EB0-87B2-B210B7586130}" type="pres">
      <dgm:prSet presAssocID="{83D21C19-9BBA-47CD-A28C-78897E292876}" presName="accentRepeatNode" presStyleLbl="solidFgAcc1" presStyleIdx="5" presStyleCnt="7"/>
      <dgm:spPr/>
    </dgm:pt>
    <dgm:pt modelId="{BF5F14BC-780E-439D-8CCE-B939CA6246CF}" type="pres">
      <dgm:prSet presAssocID="{414797EB-74B4-4291-AF3E-06BCA64CF6B6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C39E1B9-7EF7-4037-AC94-A53D7AE2CF83}" type="pres">
      <dgm:prSet presAssocID="{414797EB-74B4-4291-AF3E-06BCA64CF6B6}" presName="accent_7" presStyleCnt="0"/>
      <dgm:spPr/>
    </dgm:pt>
    <dgm:pt modelId="{5AF5E7EE-A04D-40FC-8300-CF20EEE80831}" type="pres">
      <dgm:prSet presAssocID="{414797EB-74B4-4291-AF3E-06BCA64CF6B6}" presName="accentRepeatNode" presStyleLbl="solidFgAcc1" presStyleIdx="6" presStyleCnt="7"/>
      <dgm:spPr/>
    </dgm:pt>
  </dgm:ptLst>
  <dgm:cxnLst>
    <dgm:cxn modelId="{18D9E568-29B3-476F-81A8-6A8483121BFD}" type="presOf" srcId="{59788018-3182-43A3-8988-94BE0745A02A}" destId="{54C74578-773C-4297-A4DE-1398F67BB91C}" srcOrd="0" destOrd="0" presId="urn:microsoft.com/office/officeart/2008/layout/VerticalCurvedList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35BFE3AB-B616-49D2-A80C-8722C22F2999}" type="presOf" srcId="{414797EB-74B4-4291-AF3E-06BCA64CF6B6}" destId="{BF5F14BC-780E-439D-8CCE-B939CA6246CF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0281512C-E79C-4333-9D56-2A66E949228F}" srcId="{F010CF21-4A6D-44EF-A02C-3D5169816247}" destId="{414797EB-74B4-4291-AF3E-06BCA64CF6B6}" srcOrd="6" destOrd="0" parTransId="{D9EEC982-6F8E-415B-9E6B-101927331BD8}" sibTransId="{3124CA87-5240-449D-93B8-646AA320F84C}"/>
    <dgm:cxn modelId="{A7B15CF7-4E75-411F-BC90-33ED6C65F27E}" type="presOf" srcId="{445F633E-575C-4AF5-92DD-A71CC7C927A2}" destId="{21DC1980-00DC-4CF7-95B2-732EEE3E3F6A}" srcOrd="0" destOrd="0" presId="urn:microsoft.com/office/officeart/2008/layout/VerticalCurvedList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E742B9D2-5BB2-485A-A2C8-813AE12B7CC8}" type="presOf" srcId="{F010CF21-4A6D-44EF-A02C-3D5169816247}" destId="{08449366-2565-4365-85A6-6FD21C00BC0F}" srcOrd="0" destOrd="0" presId="urn:microsoft.com/office/officeart/2008/layout/VerticalCurvedList"/>
    <dgm:cxn modelId="{E32A9E4B-C455-4C98-83F3-B8DB41EEE701}" type="presOf" srcId="{83D21C19-9BBA-47CD-A28C-78897E292876}" destId="{90DEF82D-19AE-4AD6-85C9-882AA6979A47}" srcOrd="0" destOrd="0" presId="urn:microsoft.com/office/officeart/2008/layout/VerticalCurvedList"/>
    <dgm:cxn modelId="{C6F25A51-DFD4-4BC9-833A-0ABE2905FDA0}" type="presOf" srcId="{2950704D-F612-46DF-93DB-38562274CE0A}" destId="{CD0934E8-FFC7-4C4F-89BE-AC8E748C473B}" srcOrd="0" destOrd="0" presId="urn:microsoft.com/office/officeart/2008/layout/VerticalCurvedList"/>
    <dgm:cxn modelId="{61F7AA45-D375-4A2E-AB4E-40D7BF32FC3C}" type="presOf" srcId="{F562CD0B-E8EB-4DBC-82FD-4F9ECF32E366}" destId="{6940BDDF-1FEF-41BF-B9E9-0FFE3926A970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9B66139D-ACB7-47E3-BDF0-0DD196205FFC}" type="presOf" srcId="{5304307F-C466-4740-8475-DADC91075624}" destId="{A130CA03-71CB-414D-840B-5B6A74283EA0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C6FF2947-930D-4737-8410-5E5362813F6A}" type="presOf" srcId="{B9A48CF8-D428-45D1-8969-FBBF15BE7DBA}" destId="{B33E6E9D-CEE0-4253-A8E7-0BD98EFB662C}" srcOrd="0" destOrd="0" presId="urn:microsoft.com/office/officeart/2008/layout/VerticalCurvedList"/>
    <dgm:cxn modelId="{A7094E9D-F5FE-495F-B0F2-32CEF9128CBD}" srcId="{F010CF21-4A6D-44EF-A02C-3D5169816247}" destId="{83D21C19-9BBA-47CD-A28C-78897E292876}" srcOrd="5" destOrd="0" parTransId="{F9DB217B-EB6D-4135-A0AB-5FC58BB54940}" sibTransId="{2147E029-686C-49DF-B4DE-CF8BF24A4A37}"/>
    <dgm:cxn modelId="{77979E9A-2636-4B3B-9E08-C0CC5E15FD7D}" type="presParOf" srcId="{08449366-2565-4365-85A6-6FD21C00BC0F}" destId="{43AFC4E7-46DA-4B7B-B201-0A406A05CAD2}" srcOrd="0" destOrd="0" presId="urn:microsoft.com/office/officeart/2008/layout/VerticalCurvedList"/>
    <dgm:cxn modelId="{6357634B-814A-4291-884B-F9D110A2BE76}" type="presParOf" srcId="{43AFC4E7-46DA-4B7B-B201-0A406A05CAD2}" destId="{C89A3969-C068-41DF-977E-ED5F7B6D0CE6}" srcOrd="0" destOrd="0" presId="urn:microsoft.com/office/officeart/2008/layout/VerticalCurvedList"/>
    <dgm:cxn modelId="{C3288A05-5577-4D87-8D65-A34A7E512B99}" type="presParOf" srcId="{C89A3969-C068-41DF-977E-ED5F7B6D0CE6}" destId="{36B09AF6-20B6-459B-86E4-BA1ECCD29B61}" srcOrd="0" destOrd="0" presId="urn:microsoft.com/office/officeart/2008/layout/VerticalCurvedList"/>
    <dgm:cxn modelId="{7274D3D8-EAF7-4754-AF09-2F2F24729D1E}" type="presParOf" srcId="{C89A3969-C068-41DF-977E-ED5F7B6D0CE6}" destId="{6940BDDF-1FEF-41BF-B9E9-0FFE3926A970}" srcOrd="1" destOrd="0" presId="urn:microsoft.com/office/officeart/2008/layout/VerticalCurvedList"/>
    <dgm:cxn modelId="{8430E11E-E385-4C4C-B008-049451514A01}" type="presParOf" srcId="{C89A3969-C068-41DF-977E-ED5F7B6D0CE6}" destId="{CF948C64-B606-46D3-AF0E-5C95CC7F1D42}" srcOrd="2" destOrd="0" presId="urn:microsoft.com/office/officeart/2008/layout/VerticalCurvedList"/>
    <dgm:cxn modelId="{9AD08ECF-03F2-46E8-B61A-0A4A94993BDE}" type="presParOf" srcId="{C89A3969-C068-41DF-977E-ED5F7B6D0CE6}" destId="{4485BF69-EF87-4AEE-AFDF-DE2F8D2ACCD9}" srcOrd="3" destOrd="0" presId="urn:microsoft.com/office/officeart/2008/layout/VerticalCurvedList"/>
    <dgm:cxn modelId="{A6C010C1-30EC-4D55-8114-EC989BD84108}" type="presParOf" srcId="{43AFC4E7-46DA-4B7B-B201-0A406A05CAD2}" destId="{54C74578-773C-4297-A4DE-1398F67BB91C}" srcOrd="1" destOrd="0" presId="urn:microsoft.com/office/officeart/2008/layout/VerticalCurvedList"/>
    <dgm:cxn modelId="{5ACD0B20-A5B7-431A-AE47-5055A4ADAEF2}" type="presParOf" srcId="{43AFC4E7-46DA-4B7B-B201-0A406A05CAD2}" destId="{10D97C5B-BA88-4603-BEB8-816B9E26E1E0}" srcOrd="2" destOrd="0" presId="urn:microsoft.com/office/officeart/2008/layout/VerticalCurvedList"/>
    <dgm:cxn modelId="{B6FED196-E42A-4323-B5BD-165F89C05482}" type="presParOf" srcId="{10D97C5B-BA88-4603-BEB8-816B9E26E1E0}" destId="{EBBCF617-4DDB-47D0-98C7-99413FA904B7}" srcOrd="0" destOrd="0" presId="urn:microsoft.com/office/officeart/2008/layout/VerticalCurvedList"/>
    <dgm:cxn modelId="{81422A60-3F9D-461C-8ECF-58162D7247C4}" type="presParOf" srcId="{43AFC4E7-46DA-4B7B-B201-0A406A05CAD2}" destId="{B33E6E9D-CEE0-4253-A8E7-0BD98EFB662C}" srcOrd="3" destOrd="0" presId="urn:microsoft.com/office/officeart/2008/layout/VerticalCurvedList"/>
    <dgm:cxn modelId="{96914CE4-FADB-4A60-A777-D440F7EA855C}" type="presParOf" srcId="{43AFC4E7-46DA-4B7B-B201-0A406A05CAD2}" destId="{0C3100F7-B06F-4D61-8952-72DDA3F196CC}" srcOrd="4" destOrd="0" presId="urn:microsoft.com/office/officeart/2008/layout/VerticalCurvedList"/>
    <dgm:cxn modelId="{CC833F94-1CF8-4F71-83AA-7EB2E4FD7BEC}" type="presParOf" srcId="{0C3100F7-B06F-4D61-8952-72DDA3F196CC}" destId="{7A113706-4115-4E46-A0DB-BB2E4C947383}" srcOrd="0" destOrd="0" presId="urn:microsoft.com/office/officeart/2008/layout/VerticalCurvedList"/>
    <dgm:cxn modelId="{7CA1B21C-F495-496F-9705-AA5174F5192B}" type="presParOf" srcId="{43AFC4E7-46DA-4B7B-B201-0A406A05CAD2}" destId="{CD0934E8-FFC7-4C4F-89BE-AC8E748C473B}" srcOrd="5" destOrd="0" presId="urn:microsoft.com/office/officeart/2008/layout/VerticalCurvedList"/>
    <dgm:cxn modelId="{ED23C9AD-FAD1-4C54-8636-D3AA150AE673}" type="presParOf" srcId="{43AFC4E7-46DA-4B7B-B201-0A406A05CAD2}" destId="{E9561BC4-D00A-48CE-8C8A-EEF31BA7E3DC}" srcOrd="6" destOrd="0" presId="urn:microsoft.com/office/officeart/2008/layout/VerticalCurvedList"/>
    <dgm:cxn modelId="{363611F0-161C-40A3-BB7F-3FB3081E4AE2}" type="presParOf" srcId="{E9561BC4-D00A-48CE-8C8A-EEF31BA7E3DC}" destId="{0692BF8D-B063-4580-8A2D-225A14481CCD}" srcOrd="0" destOrd="0" presId="urn:microsoft.com/office/officeart/2008/layout/VerticalCurvedList"/>
    <dgm:cxn modelId="{A923AA03-A807-4133-BBAF-AB5F98FDA73E}" type="presParOf" srcId="{43AFC4E7-46DA-4B7B-B201-0A406A05CAD2}" destId="{A130CA03-71CB-414D-840B-5B6A74283EA0}" srcOrd="7" destOrd="0" presId="urn:microsoft.com/office/officeart/2008/layout/VerticalCurvedList"/>
    <dgm:cxn modelId="{306FC5E4-3B50-4F19-8431-B20448FE06E6}" type="presParOf" srcId="{43AFC4E7-46DA-4B7B-B201-0A406A05CAD2}" destId="{D937CBB2-ED3F-4237-9CE7-8530AF6E9C0D}" srcOrd="8" destOrd="0" presId="urn:microsoft.com/office/officeart/2008/layout/VerticalCurvedList"/>
    <dgm:cxn modelId="{FCCE5C27-D4B9-443E-BC71-72DCAE759298}" type="presParOf" srcId="{D937CBB2-ED3F-4237-9CE7-8530AF6E9C0D}" destId="{D60F798E-526C-4126-9782-B35CCE9CE8B1}" srcOrd="0" destOrd="0" presId="urn:microsoft.com/office/officeart/2008/layout/VerticalCurvedList"/>
    <dgm:cxn modelId="{6F35CAC4-521D-497F-BA3D-3A8FB0D19BA9}" type="presParOf" srcId="{43AFC4E7-46DA-4B7B-B201-0A406A05CAD2}" destId="{21DC1980-00DC-4CF7-95B2-732EEE3E3F6A}" srcOrd="9" destOrd="0" presId="urn:microsoft.com/office/officeart/2008/layout/VerticalCurvedList"/>
    <dgm:cxn modelId="{65D01CBD-66BC-4853-A369-365AC10A3CA6}" type="presParOf" srcId="{43AFC4E7-46DA-4B7B-B201-0A406A05CAD2}" destId="{52DDB14D-B001-4BDB-B2BD-E4F4785CF4F4}" srcOrd="10" destOrd="0" presId="urn:microsoft.com/office/officeart/2008/layout/VerticalCurvedList"/>
    <dgm:cxn modelId="{226F922B-FF04-4EA7-9C1C-A0970D303F32}" type="presParOf" srcId="{52DDB14D-B001-4BDB-B2BD-E4F4785CF4F4}" destId="{1CAC461D-769E-43F1-85D8-A86E37EE9368}" srcOrd="0" destOrd="0" presId="urn:microsoft.com/office/officeart/2008/layout/VerticalCurvedList"/>
    <dgm:cxn modelId="{9F2A9E59-989F-4A28-9D38-58B5A15568C3}" type="presParOf" srcId="{43AFC4E7-46DA-4B7B-B201-0A406A05CAD2}" destId="{90DEF82D-19AE-4AD6-85C9-882AA6979A47}" srcOrd="11" destOrd="0" presId="urn:microsoft.com/office/officeart/2008/layout/VerticalCurvedList"/>
    <dgm:cxn modelId="{AAD0A5F1-C5AB-4B69-9A69-1F631F67C1F6}" type="presParOf" srcId="{43AFC4E7-46DA-4B7B-B201-0A406A05CAD2}" destId="{24443A18-902C-46C8-9159-72852470E469}" srcOrd="12" destOrd="0" presId="urn:microsoft.com/office/officeart/2008/layout/VerticalCurvedList"/>
    <dgm:cxn modelId="{91525EFE-F27D-4950-B80E-075A24FB9D35}" type="presParOf" srcId="{24443A18-902C-46C8-9159-72852470E469}" destId="{5B1F49EF-F46F-4EB0-87B2-B210B7586130}" srcOrd="0" destOrd="0" presId="urn:microsoft.com/office/officeart/2008/layout/VerticalCurvedList"/>
    <dgm:cxn modelId="{85F72D30-19BB-45CB-8624-3D225E52D16E}" type="presParOf" srcId="{43AFC4E7-46DA-4B7B-B201-0A406A05CAD2}" destId="{BF5F14BC-780E-439D-8CCE-B939CA6246CF}" srcOrd="13" destOrd="0" presId="urn:microsoft.com/office/officeart/2008/layout/VerticalCurvedList"/>
    <dgm:cxn modelId="{7021B85D-5681-430D-96A3-E8136DEE34F8}" type="presParOf" srcId="{43AFC4E7-46DA-4B7B-B201-0A406A05CAD2}" destId="{9C39E1B9-7EF7-4037-AC94-A53D7AE2CF83}" srcOrd="14" destOrd="0" presId="urn:microsoft.com/office/officeart/2008/layout/VerticalCurvedList"/>
    <dgm:cxn modelId="{947C16AB-3A3B-4CAE-81FB-41DCB8D5CA54}" type="presParOf" srcId="{9C39E1B9-7EF7-4037-AC94-A53D7AE2CF83}" destId="{5AF5E7EE-A04D-40FC-8300-CF20EEE80831}" srcOrd="0" destOrd="0" presId="urn:microsoft.com/office/officeart/2008/layout/VerticalCurvedList"/>
  </dgm:cxnLst>
  <dgm:bg/>
  <dgm:whole/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 smtClean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 smtClean="0"/>
            <a:t>Rapport financier de l’année 2016-2017</a:t>
          </a:r>
          <a:endParaRPr lang="fr-FR" dirty="0"/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 smtClean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 smtClean="0"/>
            <a:t>Budget de l’année 2017-2018</a:t>
          </a:r>
          <a:endParaRPr lang="fr-FR" dirty="0"/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83D21C19-9BBA-47CD-A28C-78897E292876}">
      <dgm:prSet/>
      <dgm:spPr/>
      <dgm:t>
        <a:bodyPr/>
        <a:lstStyle/>
        <a:p>
          <a:r>
            <a:rPr lang="fr-FR" dirty="0" smtClean="0"/>
            <a:t>Présentation du Partenariat avec « LA RESIDENCE »</a:t>
          </a:r>
          <a:endParaRPr lang="fr-FR" dirty="0"/>
        </a:p>
      </dgm:t>
    </dgm:pt>
    <dgm:pt modelId="{F9DB217B-EB6D-4135-A0AB-5FC58BB54940}" type="parTrans" cxnId="{A7094E9D-F5FE-495F-B0F2-32CEF9128CBD}">
      <dgm:prSet/>
      <dgm:spPr/>
      <dgm:t>
        <a:bodyPr/>
        <a:lstStyle/>
        <a:p>
          <a:endParaRPr lang="fr-FR"/>
        </a:p>
      </dgm:t>
    </dgm:pt>
    <dgm:pt modelId="{2147E029-686C-49DF-B4DE-CF8BF24A4A37}" type="sibTrans" cxnId="{A7094E9D-F5FE-495F-B0F2-32CEF9128CBD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 smtClean="0"/>
            <a:t>Interventions des Invités présents</a:t>
          </a:r>
          <a:endParaRPr lang="fr-FR" dirty="0"/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dirty="0" smtClean="0"/>
            <a:t>Les rendez-vous 2017-2018</a:t>
          </a:r>
        </a:p>
      </dgm:t>
    </dgm:pt>
    <dgm:pt modelId="{57F13D37-A893-4898-8E27-67A829686B6A}" type="parTrans" cxnId="{051A02E2-A13E-46A9-94BA-D97943568D2C}">
      <dgm:prSet/>
      <dgm:spPr/>
    </dgm:pt>
    <dgm:pt modelId="{2E2E54F7-C5CC-4881-AD5B-155C1DBB1F1E}" type="sibTrans" cxnId="{051A02E2-A13E-46A9-94BA-D97943568D2C}">
      <dgm:prSet/>
      <dgm:spPr/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43AFC4E7-46DA-4B7B-B201-0A406A05CAD2}" type="pres">
      <dgm:prSet presAssocID="{F010CF21-4A6D-44EF-A02C-3D5169816247}" presName="Name1" presStyleCnt="0"/>
      <dgm:spPr/>
      <dgm:t>
        <a:bodyPr/>
        <a:lstStyle/>
        <a:p>
          <a:endParaRPr lang="fr-FR"/>
        </a:p>
      </dgm:t>
    </dgm:pt>
    <dgm:pt modelId="{C89A3969-C068-41DF-977E-ED5F7B6D0CE6}" type="pres">
      <dgm:prSet presAssocID="{F010CF21-4A6D-44EF-A02C-3D5169816247}" presName="cycle" presStyleCnt="0"/>
      <dgm:spPr/>
      <dgm:t>
        <a:bodyPr/>
        <a:lstStyle/>
        <a:p>
          <a:endParaRPr lang="fr-FR"/>
        </a:p>
      </dgm:t>
    </dgm:pt>
    <dgm:pt modelId="{36B09AF6-20B6-459B-86E4-BA1ECCD29B61}" type="pres">
      <dgm:prSet presAssocID="{F010CF21-4A6D-44EF-A02C-3D5169816247}" presName="srcNode" presStyleLbl="node1" presStyleIdx="0" presStyleCnt="7"/>
      <dgm:spPr/>
      <dgm:t>
        <a:bodyPr/>
        <a:lstStyle/>
        <a:p>
          <a:endParaRPr lang="fr-FR"/>
        </a:p>
      </dgm:t>
    </dgm:pt>
    <dgm:pt modelId="{6940BDDF-1FEF-41BF-B9E9-0FFE3926A970}" type="pres">
      <dgm:prSet presAssocID="{F010CF21-4A6D-44EF-A02C-3D5169816247}" presName="conn" presStyleLbl="parChTrans1D2" presStyleIdx="0" presStyleCnt="1"/>
      <dgm:spPr/>
      <dgm:t>
        <a:bodyPr/>
        <a:lstStyle/>
        <a:p>
          <a:endParaRPr lang="fr-FR"/>
        </a:p>
      </dgm:t>
    </dgm:pt>
    <dgm:pt modelId="{CF948C64-B606-46D3-AF0E-5C95CC7F1D42}" type="pres">
      <dgm:prSet presAssocID="{F010CF21-4A6D-44EF-A02C-3D5169816247}" presName="extraNode" presStyleLbl="node1" presStyleIdx="0" presStyleCnt="7"/>
      <dgm:spPr/>
      <dgm:t>
        <a:bodyPr/>
        <a:lstStyle/>
        <a:p>
          <a:endParaRPr lang="fr-FR"/>
        </a:p>
      </dgm:t>
    </dgm:pt>
    <dgm:pt modelId="{4485BF69-EF87-4AEE-AFDF-DE2F8D2ACCD9}" type="pres">
      <dgm:prSet presAssocID="{F010CF21-4A6D-44EF-A02C-3D5169816247}" presName="dstNode" presStyleLbl="node1" presStyleIdx="0" presStyleCnt="7"/>
      <dgm:spPr/>
      <dgm:t>
        <a:bodyPr/>
        <a:lstStyle/>
        <a:p>
          <a:endParaRPr lang="fr-FR"/>
        </a:p>
      </dgm:t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97C5B-BA88-4603-BEB8-816B9E26E1E0}" type="pres">
      <dgm:prSet presAssocID="{59788018-3182-43A3-8988-94BE0745A02A}" presName="accent_1" presStyleCnt="0"/>
      <dgm:spPr/>
      <dgm:t>
        <a:bodyPr/>
        <a:lstStyle/>
        <a:p>
          <a:endParaRPr lang="fr-FR"/>
        </a:p>
      </dgm:t>
    </dgm:pt>
    <dgm:pt modelId="{EBBCF617-4DDB-47D0-98C7-99413FA904B7}" type="pres">
      <dgm:prSet presAssocID="{59788018-3182-43A3-8988-94BE0745A02A}" presName="accentRepeatNode" presStyleLbl="solidFgAcc1" presStyleIdx="0" presStyleCnt="7"/>
      <dgm:spPr/>
      <dgm:t>
        <a:bodyPr/>
        <a:lstStyle/>
        <a:p>
          <a:endParaRPr lang="fr-FR"/>
        </a:p>
      </dgm:t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100F7-B06F-4D61-8952-72DDA3F196CC}" type="pres">
      <dgm:prSet presAssocID="{B9A48CF8-D428-45D1-8969-FBBF15BE7DBA}" presName="accent_2" presStyleCnt="0"/>
      <dgm:spPr/>
      <dgm:t>
        <a:bodyPr/>
        <a:lstStyle/>
        <a:p>
          <a:endParaRPr lang="fr-FR"/>
        </a:p>
      </dgm:t>
    </dgm:pt>
    <dgm:pt modelId="{7A113706-4115-4E46-A0DB-BB2E4C947383}" type="pres">
      <dgm:prSet presAssocID="{B9A48CF8-D428-45D1-8969-FBBF15BE7DBA}" presName="accentRepeatNode" presStyleLbl="solidFgAcc1" presStyleIdx="1" presStyleCnt="7"/>
      <dgm:spPr/>
      <dgm:t>
        <a:bodyPr/>
        <a:lstStyle/>
        <a:p>
          <a:endParaRPr lang="fr-FR"/>
        </a:p>
      </dgm:t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61BC4-D00A-48CE-8C8A-EEF31BA7E3DC}" type="pres">
      <dgm:prSet presAssocID="{2950704D-F612-46DF-93DB-38562274CE0A}" presName="accent_3" presStyleCnt="0"/>
      <dgm:spPr/>
      <dgm:t>
        <a:bodyPr/>
        <a:lstStyle/>
        <a:p>
          <a:endParaRPr lang="fr-FR"/>
        </a:p>
      </dgm:t>
    </dgm:pt>
    <dgm:pt modelId="{0692BF8D-B063-4580-8A2D-225A14481CCD}" type="pres">
      <dgm:prSet presAssocID="{2950704D-F612-46DF-93DB-38562274CE0A}" presName="accentRepeatNode" presStyleLbl="solidFgAcc1" presStyleIdx="2" presStyleCnt="7"/>
      <dgm:spPr/>
      <dgm:t>
        <a:bodyPr/>
        <a:lstStyle/>
        <a:p>
          <a:endParaRPr lang="fr-FR"/>
        </a:p>
      </dgm:t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  <dgm:t>
        <a:bodyPr/>
        <a:lstStyle/>
        <a:p>
          <a:endParaRPr lang="fr-FR"/>
        </a:p>
      </dgm:t>
    </dgm:pt>
    <dgm:pt modelId="{90DEF82D-19AE-4AD6-85C9-882AA6979A47}" type="pres">
      <dgm:prSet presAssocID="{83D21C19-9BBA-47CD-A28C-78897E292876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4443A18-902C-46C8-9159-72852470E469}" type="pres">
      <dgm:prSet presAssocID="{83D21C19-9BBA-47CD-A28C-78897E292876}" presName="accent_6" presStyleCnt="0"/>
      <dgm:spPr/>
    </dgm:pt>
    <dgm:pt modelId="{5B1F49EF-F46F-4EB0-87B2-B210B7586130}" type="pres">
      <dgm:prSet presAssocID="{83D21C19-9BBA-47CD-A28C-78897E292876}" presName="accentRepeatNode" presStyleLbl="solidFgAcc1" presStyleIdx="5" presStyleCnt="7"/>
      <dgm:spPr/>
    </dgm:pt>
    <dgm:pt modelId="{BF5F14BC-780E-439D-8CCE-B939CA6246CF}" type="pres">
      <dgm:prSet presAssocID="{414797EB-74B4-4291-AF3E-06BCA64CF6B6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C39E1B9-7EF7-4037-AC94-A53D7AE2CF83}" type="pres">
      <dgm:prSet presAssocID="{414797EB-74B4-4291-AF3E-06BCA64CF6B6}" presName="accent_7" presStyleCnt="0"/>
      <dgm:spPr/>
    </dgm:pt>
    <dgm:pt modelId="{5AF5E7EE-A04D-40FC-8300-CF20EEE80831}" type="pres">
      <dgm:prSet presAssocID="{414797EB-74B4-4291-AF3E-06BCA64CF6B6}" presName="accentRepeatNode" presStyleLbl="solidFgAcc1" presStyleIdx="6" presStyleCnt="7"/>
      <dgm:spPr/>
    </dgm:pt>
  </dgm:ptLst>
  <dgm:cxnLst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32CA508-E0B5-4A3C-9620-356E4AB2BF71}" type="presOf" srcId="{B9A48CF8-D428-45D1-8969-FBBF15BE7DBA}" destId="{B33E6E9D-CEE0-4253-A8E7-0BD98EFB662C}" srcOrd="0" destOrd="0" presId="urn:microsoft.com/office/officeart/2008/layout/VerticalCurvedList"/>
    <dgm:cxn modelId="{A7094E9D-F5FE-495F-B0F2-32CEF9128CBD}" srcId="{F010CF21-4A6D-44EF-A02C-3D5169816247}" destId="{83D21C19-9BBA-47CD-A28C-78897E292876}" srcOrd="5" destOrd="0" parTransId="{F9DB217B-EB6D-4135-A0AB-5FC58BB54940}" sibTransId="{2147E029-686C-49DF-B4DE-CF8BF24A4A37}"/>
    <dgm:cxn modelId="{53F04AA5-E08B-4436-A945-2D42A082CEDB}" type="presOf" srcId="{414797EB-74B4-4291-AF3E-06BCA64CF6B6}" destId="{BF5F14BC-780E-439D-8CCE-B939CA6246CF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04D0FE2A-5A37-4A4F-A25D-1A8E6C429CC7}" type="presOf" srcId="{2950704D-F612-46DF-93DB-38562274CE0A}" destId="{CD0934E8-FFC7-4C4F-89BE-AC8E748C473B}" srcOrd="0" destOrd="0" presId="urn:microsoft.com/office/officeart/2008/layout/VerticalCurvedList"/>
    <dgm:cxn modelId="{7F7B0CBF-EEC5-4EC2-90C9-741E0C37D8D4}" type="presOf" srcId="{5304307F-C466-4740-8475-DADC91075624}" destId="{A130CA03-71CB-414D-840B-5B6A74283EA0}" srcOrd="0" destOrd="0" presId="urn:microsoft.com/office/officeart/2008/layout/VerticalCurvedList"/>
    <dgm:cxn modelId="{9F98E41B-F238-4F93-B1F0-381EBFFA5403}" type="presOf" srcId="{83D21C19-9BBA-47CD-A28C-78897E292876}" destId="{90DEF82D-19AE-4AD6-85C9-882AA6979A47}" srcOrd="0" destOrd="0" presId="urn:microsoft.com/office/officeart/2008/layout/VerticalCurvedList"/>
    <dgm:cxn modelId="{18EC4203-46CD-4EFB-AD08-18C32DD63486}" type="presOf" srcId="{445F633E-575C-4AF5-92DD-A71CC7C927A2}" destId="{21DC1980-00DC-4CF7-95B2-732EEE3E3F6A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1AB790E6-BE7E-4A44-87E0-DBB5C5092EE6}" type="presOf" srcId="{59788018-3182-43A3-8988-94BE0745A02A}" destId="{54C74578-773C-4297-A4DE-1398F67BB91C}" srcOrd="0" destOrd="0" presId="urn:microsoft.com/office/officeart/2008/layout/VerticalCurvedList"/>
    <dgm:cxn modelId="{AD5C24FB-DD2B-45FD-A8B1-A20A38C14B92}" type="presOf" srcId="{F010CF21-4A6D-44EF-A02C-3D5169816247}" destId="{08449366-2565-4365-85A6-6FD21C00BC0F}" srcOrd="0" destOrd="0" presId="urn:microsoft.com/office/officeart/2008/layout/VerticalCurvedList"/>
    <dgm:cxn modelId="{3FF91BC0-060A-4479-B56D-74BF691D3AC6}" type="presOf" srcId="{F562CD0B-E8EB-4DBC-82FD-4F9ECF32E366}" destId="{6940BDDF-1FEF-41BF-B9E9-0FFE3926A970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0281512C-E79C-4333-9D56-2A66E949228F}" srcId="{F010CF21-4A6D-44EF-A02C-3D5169816247}" destId="{414797EB-74B4-4291-AF3E-06BCA64CF6B6}" srcOrd="6" destOrd="0" parTransId="{D9EEC982-6F8E-415B-9E6B-101927331BD8}" sibTransId="{3124CA87-5240-449D-93B8-646AA320F84C}"/>
    <dgm:cxn modelId="{81640A04-2715-40EB-A1AD-80F067A0E13D}" type="presParOf" srcId="{08449366-2565-4365-85A6-6FD21C00BC0F}" destId="{43AFC4E7-46DA-4B7B-B201-0A406A05CAD2}" srcOrd="0" destOrd="0" presId="urn:microsoft.com/office/officeart/2008/layout/VerticalCurvedList"/>
    <dgm:cxn modelId="{B5EEF204-0747-449E-91E4-8A456A9156C3}" type="presParOf" srcId="{43AFC4E7-46DA-4B7B-B201-0A406A05CAD2}" destId="{C89A3969-C068-41DF-977E-ED5F7B6D0CE6}" srcOrd="0" destOrd="0" presId="urn:microsoft.com/office/officeart/2008/layout/VerticalCurvedList"/>
    <dgm:cxn modelId="{3D1E9DD2-AFDB-445F-960D-4B6CE288F160}" type="presParOf" srcId="{C89A3969-C068-41DF-977E-ED5F7B6D0CE6}" destId="{36B09AF6-20B6-459B-86E4-BA1ECCD29B61}" srcOrd="0" destOrd="0" presId="urn:microsoft.com/office/officeart/2008/layout/VerticalCurvedList"/>
    <dgm:cxn modelId="{1F579896-1711-4C58-9C97-F6270669674D}" type="presParOf" srcId="{C89A3969-C068-41DF-977E-ED5F7B6D0CE6}" destId="{6940BDDF-1FEF-41BF-B9E9-0FFE3926A970}" srcOrd="1" destOrd="0" presId="urn:microsoft.com/office/officeart/2008/layout/VerticalCurvedList"/>
    <dgm:cxn modelId="{69CA0894-E0C1-4174-BED3-727DFC4EB42C}" type="presParOf" srcId="{C89A3969-C068-41DF-977E-ED5F7B6D0CE6}" destId="{CF948C64-B606-46D3-AF0E-5C95CC7F1D42}" srcOrd="2" destOrd="0" presId="urn:microsoft.com/office/officeart/2008/layout/VerticalCurvedList"/>
    <dgm:cxn modelId="{DDA830DF-7ACE-4AEC-B1EE-A5C7363B6E3B}" type="presParOf" srcId="{C89A3969-C068-41DF-977E-ED5F7B6D0CE6}" destId="{4485BF69-EF87-4AEE-AFDF-DE2F8D2ACCD9}" srcOrd="3" destOrd="0" presId="urn:microsoft.com/office/officeart/2008/layout/VerticalCurvedList"/>
    <dgm:cxn modelId="{542F229A-B6C3-428E-AF37-38B7FBDEF504}" type="presParOf" srcId="{43AFC4E7-46DA-4B7B-B201-0A406A05CAD2}" destId="{54C74578-773C-4297-A4DE-1398F67BB91C}" srcOrd="1" destOrd="0" presId="urn:microsoft.com/office/officeart/2008/layout/VerticalCurvedList"/>
    <dgm:cxn modelId="{0ACC889A-648F-47FA-AD9F-D06D6D53D12C}" type="presParOf" srcId="{43AFC4E7-46DA-4B7B-B201-0A406A05CAD2}" destId="{10D97C5B-BA88-4603-BEB8-816B9E26E1E0}" srcOrd="2" destOrd="0" presId="urn:microsoft.com/office/officeart/2008/layout/VerticalCurvedList"/>
    <dgm:cxn modelId="{13EFE94D-3AC9-49D4-83C1-A9E0E385DA70}" type="presParOf" srcId="{10D97C5B-BA88-4603-BEB8-816B9E26E1E0}" destId="{EBBCF617-4DDB-47D0-98C7-99413FA904B7}" srcOrd="0" destOrd="0" presId="urn:microsoft.com/office/officeart/2008/layout/VerticalCurvedList"/>
    <dgm:cxn modelId="{C956BA7A-F2A3-4BD1-A285-3E5945DAF6E1}" type="presParOf" srcId="{43AFC4E7-46DA-4B7B-B201-0A406A05CAD2}" destId="{B33E6E9D-CEE0-4253-A8E7-0BD98EFB662C}" srcOrd="3" destOrd="0" presId="urn:microsoft.com/office/officeart/2008/layout/VerticalCurvedList"/>
    <dgm:cxn modelId="{D5F0D1D1-F1A9-47CD-96C7-4F78D821CC3F}" type="presParOf" srcId="{43AFC4E7-46DA-4B7B-B201-0A406A05CAD2}" destId="{0C3100F7-B06F-4D61-8952-72DDA3F196CC}" srcOrd="4" destOrd="0" presId="urn:microsoft.com/office/officeart/2008/layout/VerticalCurvedList"/>
    <dgm:cxn modelId="{2C4D6DE2-B02C-4322-9B6E-5C1111AE2940}" type="presParOf" srcId="{0C3100F7-B06F-4D61-8952-72DDA3F196CC}" destId="{7A113706-4115-4E46-A0DB-BB2E4C947383}" srcOrd="0" destOrd="0" presId="urn:microsoft.com/office/officeart/2008/layout/VerticalCurvedList"/>
    <dgm:cxn modelId="{32B8EF77-2A7D-4D0A-A0E0-05A0B756A6FE}" type="presParOf" srcId="{43AFC4E7-46DA-4B7B-B201-0A406A05CAD2}" destId="{CD0934E8-FFC7-4C4F-89BE-AC8E748C473B}" srcOrd="5" destOrd="0" presId="urn:microsoft.com/office/officeart/2008/layout/VerticalCurvedList"/>
    <dgm:cxn modelId="{418989FC-094F-43C1-B986-C50B73BEEF77}" type="presParOf" srcId="{43AFC4E7-46DA-4B7B-B201-0A406A05CAD2}" destId="{E9561BC4-D00A-48CE-8C8A-EEF31BA7E3DC}" srcOrd="6" destOrd="0" presId="urn:microsoft.com/office/officeart/2008/layout/VerticalCurvedList"/>
    <dgm:cxn modelId="{9CB29065-7B0D-494D-A060-28766E2E1BFE}" type="presParOf" srcId="{E9561BC4-D00A-48CE-8C8A-EEF31BA7E3DC}" destId="{0692BF8D-B063-4580-8A2D-225A14481CCD}" srcOrd="0" destOrd="0" presId="urn:microsoft.com/office/officeart/2008/layout/VerticalCurvedList"/>
    <dgm:cxn modelId="{9766530B-7A23-40CA-9A2F-B6E2CE5BE7D9}" type="presParOf" srcId="{43AFC4E7-46DA-4B7B-B201-0A406A05CAD2}" destId="{A130CA03-71CB-414D-840B-5B6A74283EA0}" srcOrd="7" destOrd="0" presId="urn:microsoft.com/office/officeart/2008/layout/VerticalCurvedList"/>
    <dgm:cxn modelId="{E8AC4F67-2ACF-4230-8403-84CF88F073F7}" type="presParOf" srcId="{43AFC4E7-46DA-4B7B-B201-0A406A05CAD2}" destId="{D937CBB2-ED3F-4237-9CE7-8530AF6E9C0D}" srcOrd="8" destOrd="0" presId="urn:microsoft.com/office/officeart/2008/layout/VerticalCurvedList"/>
    <dgm:cxn modelId="{3EE182AE-A34F-4BAC-AEC9-F60A9F57340A}" type="presParOf" srcId="{D937CBB2-ED3F-4237-9CE7-8530AF6E9C0D}" destId="{D60F798E-526C-4126-9782-B35CCE9CE8B1}" srcOrd="0" destOrd="0" presId="urn:microsoft.com/office/officeart/2008/layout/VerticalCurvedList"/>
    <dgm:cxn modelId="{ACB2D64F-B281-4022-9FD5-EFF3BDF66E25}" type="presParOf" srcId="{43AFC4E7-46DA-4B7B-B201-0A406A05CAD2}" destId="{21DC1980-00DC-4CF7-95B2-732EEE3E3F6A}" srcOrd="9" destOrd="0" presId="urn:microsoft.com/office/officeart/2008/layout/VerticalCurvedList"/>
    <dgm:cxn modelId="{0AE95671-05EB-4523-8B2E-CA6DC23390B3}" type="presParOf" srcId="{43AFC4E7-46DA-4B7B-B201-0A406A05CAD2}" destId="{52DDB14D-B001-4BDB-B2BD-E4F4785CF4F4}" srcOrd="10" destOrd="0" presId="urn:microsoft.com/office/officeart/2008/layout/VerticalCurvedList"/>
    <dgm:cxn modelId="{82CBB9A6-86F1-494E-9C27-4E21FC745C98}" type="presParOf" srcId="{52DDB14D-B001-4BDB-B2BD-E4F4785CF4F4}" destId="{1CAC461D-769E-43F1-85D8-A86E37EE9368}" srcOrd="0" destOrd="0" presId="urn:microsoft.com/office/officeart/2008/layout/VerticalCurvedList"/>
    <dgm:cxn modelId="{5E7384BE-DE2A-4022-BBC3-35B984F1B1FA}" type="presParOf" srcId="{43AFC4E7-46DA-4B7B-B201-0A406A05CAD2}" destId="{90DEF82D-19AE-4AD6-85C9-882AA6979A47}" srcOrd="11" destOrd="0" presId="urn:microsoft.com/office/officeart/2008/layout/VerticalCurvedList"/>
    <dgm:cxn modelId="{3CE77F3B-FB0B-4F98-B06D-A64BDC7F08C1}" type="presParOf" srcId="{43AFC4E7-46DA-4B7B-B201-0A406A05CAD2}" destId="{24443A18-902C-46C8-9159-72852470E469}" srcOrd="12" destOrd="0" presId="urn:microsoft.com/office/officeart/2008/layout/VerticalCurvedList"/>
    <dgm:cxn modelId="{DE5323E9-A19E-46DD-A07F-0364B2A767A2}" type="presParOf" srcId="{24443A18-902C-46C8-9159-72852470E469}" destId="{5B1F49EF-F46F-4EB0-87B2-B210B7586130}" srcOrd="0" destOrd="0" presId="urn:microsoft.com/office/officeart/2008/layout/VerticalCurvedList"/>
    <dgm:cxn modelId="{4A29C5E3-BEC5-4F0E-87D7-B758FF7E9C31}" type="presParOf" srcId="{43AFC4E7-46DA-4B7B-B201-0A406A05CAD2}" destId="{BF5F14BC-780E-439D-8CCE-B939CA6246CF}" srcOrd="13" destOrd="0" presId="urn:microsoft.com/office/officeart/2008/layout/VerticalCurvedList"/>
    <dgm:cxn modelId="{0C825877-34B5-4406-902F-D44FF7747E0D}" type="presParOf" srcId="{43AFC4E7-46DA-4B7B-B201-0A406A05CAD2}" destId="{9C39E1B9-7EF7-4037-AC94-A53D7AE2CF83}" srcOrd="14" destOrd="0" presId="urn:microsoft.com/office/officeart/2008/layout/VerticalCurvedList"/>
    <dgm:cxn modelId="{55942390-AB79-4A68-BB87-B7C10CA09FB4}" type="presParOf" srcId="{9C39E1B9-7EF7-4037-AC94-A53D7AE2CF83}" destId="{5AF5E7EE-A04D-40FC-8300-CF20EEE80831}" srcOrd="0" destOrd="0" presId="urn:microsoft.com/office/officeart/2008/layout/VerticalCurvedList"/>
  </dgm:cxnLst>
  <dgm:bg/>
  <dgm:whole/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DC6C26B-5C44-4280-9EB3-068FD976E089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6DE3086-D6B2-489F-AF48-8912E4EC9D72}">
      <dgm:prSet phldrT="[Texte]" custT="1"/>
      <dgm:spPr/>
      <dgm:t>
        <a:bodyPr/>
        <a:lstStyle/>
        <a:p>
          <a:r>
            <a:rPr lang="fr-FR" sz="1600" dirty="0" smtClean="0">
              <a:solidFill>
                <a:schemeClr val="tx1"/>
              </a:solidFill>
            </a:rPr>
            <a:t>Elus d’HERBLAY</a:t>
          </a:r>
          <a:endParaRPr lang="fr-FR" sz="1600" dirty="0">
            <a:solidFill>
              <a:schemeClr val="tx1"/>
            </a:solidFill>
          </a:endParaRPr>
        </a:p>
      </dgm:t>
    </dgm:pt>
    <dgm:pt modelId="{518E41D5-5D2B-48D8-8E50-947DB28AEA31}" type="parTrans" cxnId="{70917F5B-0E35-4A2A-88D5-B45EBFE53C87}">
      <dgm:prSet/>
      <dgm:spPr/>
      <dgm:t>
        <a:bodyPr/>
        <a:lstStyle/>
        <a:p>
          <a:endParaRPr lang="fr-FR"/>
        </a:p>
      </dgm:t>
    </dgm:pt>
    <dgm:pt modelId="{0DB38E35-C61B-4A48-A372-8FCB75FC5BF9}" type="sibTrans" cxnId="{70917F5B-0E35-4A2A-88D5-B45EBFE53C87}">
      <dgm:prSet/>
      <dgm:spPr/>
      <dgm:t>
        <a:bodyPr/>
        <a:lstStyle/>
        <a:p>
          <a:endParaRPr lang="fr-FR"/>
        </a:p>
      </dgm:t>
    </dgm:pt>
    <dgm:pt modelId="{E7A6D2EE-2FCB-4C10-9D9D-5E61B8C49FEA}">
      <dgm:prSet phldrT="[Texte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fr-FR" sz="1600" dirty="0" smtClean="0">
              <a:solidFill>
                <a:schemeClr val="tx1"/>
              </a:solidFill>
            </a:rPr>
            <a:t>Services de la Ville</a:t>
          </a:r>
          <a:endParaRPr lang="fr-FR" sz="1600" dirty="0">
            <a:solidFill>
              <a:schemeClr val="tx1"/>
            </a:solidFill>
          </a:endParaRPr>
        </a:p>
      </dgm:t>
    </dgm:pt>
    <dgm:pt modelId="{BBD1B47A-8210-403D-BF33-68BE3F794F6C}" type="parTrans" cxnId="{D445F18D-47F2-42BB-8B52-64A8552A8B9C}">
      <dgm:prSet/>
      <dgm:spPr/>
      <dgm:t>
        <a:bodyPr/>
        <a:lstStyle/>
        <a:p>
          <a:endParaRPr lang="fr-FR"/>
        </a:p>
      </dgm:t>
    </dgm:pt>
    <dgm:pt modelId="{72B07F42-027A-4A6E-B634-2079767EC72A}" type="sibTrans" cxnId="{D445F18D-47F2-42BB-8B52-64A8552A8B9C}">
      <dgm:prSet/>
      <dgm:spPr/>
      <dgm:t>
        <a:bodyPr/>
        <a:lstStyle/>
        <a:p>
          <a:endParaRPr lang="fr-FR"/>
        </a:p>
      </dgm:t>
    </dgm:pt>
    <dgm:pt modelId="{12779662-B3F8-4710-ADEE-2BEA2DF93632}">
      <dgm:prSet phldrT="[Texte]" custT="1"/>
      <dgm:spPr>
        <a:solidFill>
          <a:srgbClr val="FF0000"/>
        </a:solidFill>
      </dgm:spPr>
      <dgm:t>
        <a:bodyPr/>
        <a:lstStyle/>
        <a:p>
          <a:r>
            <a:rPr lang="fr-FR" sz="1600" dirty="0" smtClean="0">
              <a:solidFill>
                <a:schemeClr val="tx1"/>
              </a:solidFill>
            </a:rPr>
            <a:t>Adhérents</a:t>
          </a:r>
          <a:endParaRPr lang="fr-FR" sz="1600" dirty="0">
            <a:solidFill>
              <a:schemeClr val="tx1"/>
            </a:solidFill>
          </a:endParaRPr>
        </a:p>
      </dgm:t>
    </dgm:pt>
    <dgm:pt modelId="{D4F53988-095A-4099-876F-C0E3C417E2EE}" type="parTrans" cxnId="{5A588D24-8742-462B-832A-01DBF8789EEB}">
      <dgm:prSet/>
      <dgm:spPr/>
      <dgm:t>
        <a:bodyPr/>
        <a:lstStyle/>
        <a:p>
          <a:endParaRPr lang="fr-FR"/>
        </a:p>
      </dgm:t>
    </dgm:pt>
    <dgm:pt modelId="{3C5701BA-391C-4E91-B535-08C709BB89B9}" type="sibTrans" cxnId="{5A588D24-8742-462B-832A-01DBF8789EEB}">
      <dgm:prSet/>
      <dgm:spPr/>
      <dgm:t>
        <a:bodyPr/>
        <a:lstStyle/>
        <a:p>
          <a:endParaRPr lang="fr-FR"/>
        </a:p>
      </dgm:t>
    </dgm:pt>
    <dgm:pt modelId="{5620B244-DBE7-4A4A-826A-3DF264E26B6A}">
      <dgm:prSet phldrT="[Texte]" custT="1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fr-FR" sz="1600" dirty="0" smtClean="0">
              <a:solidFill>
                <a:schemeClr val="tx1"/>
              </a:solidFill>
            </a:rPr>
            <a:t>Parents</a:t>
          </a:r>
          <a:endParaRPr lang="fr-FR" sz="1600" dirty="0">
            <a:solidFill>
              <a:schemeClr val="tx1"/>
            </a:solidFill>
          </a:endParaRPr>
        </a:p>
      </dgm:t>
    </dgm:pt>
    <dgm:pt modelId="{8DB123A2-1991-4953-81F2-50DECC9648E8}" type="parTrans" cxnId="{9ACAEA0C-ADB2-4872-8214-A15F755124E9}">
      <dgm:prSet/>
      <dgm:spPr/>
      <dgm:t>
        <a:bodyPr/>
        <a:lstStyle/>
        <a:p>
          <a:endParaRPr lang="fr-FR"/>
        </a:p>
      </dgm:t>
    </dgm:pt>
    <dgm:pt modelId="{D2D4532C-0577-4870-BC45-0D10B9E1D07C}" type="sibTrans" cxnId="{9ACAEA0C-ADB2-4872-8214-A15F755124E9}">
      <dgm:prSet/>
      <dgm:spPr/>
      <dgm:t>
        <a:bodyPr/>
        <a:lstStyle/>
        <a:p>
          <a:endParaRPr lang="fr-FR"/>
        </a:p>
      </dgm:t>
    </dgm:pt>
    <dgm:pt modelId="{736A51FE-E49C-4364-B07D-F2DCF4CCE02A}">
      <dgm:prSet phldrT="[Texte]" custT="1"/>
      <dgm:spPr>
        <a:solidFill>
          <a:srgbClr val="FA7D7D"/>
        </a:solidFill>
      </dgm:spPr>
      <dgm:t>
        <a:bodyPr/>
        <a:lstStyle/>
        <a:p>
          <a:r>
            <a:rPr lang="fr-FR" sz="1600" dirty="0" smtClean="0">
              <a:solidFill>
                <a:schemeClr val="tx1"/>
              </a:solidFill>
            </a:rPr>
            <a:t>Administrateurs</a:t>
          </a:r>
          <a:endParaRPr lang="fr-FR" sz="1600" dirty="0">
            <a:solidFill>
              <a:schemeClr val="tx1"/>
            </a:solidFill>
          </a:endParaRPr>
        </a:p>
      </dgm:t>
    </dgm:pt>
    <dgm:pt modelId="{9BD0F94A-E92D-4CFC-86E9-336B2726AA72}" type="parTrans" cxnId="{49D361BB-904D-4A63-A864-A0BB629E1680}">
      <dgm:prSet/>
      <dgm:spPr/>
      <dgm:t>
        <a:bodyPr/>
        <a:lstStyle/>
        <a:p>
          <a:endParaRPr lang="fr-FR"/>
        </a:p>
      </dgm:t>
    </dgm:pt>
    <dgm:pt modelId="{EBA875C8-72DE-4222-8785-4A7F700EC9EB}" type="sibTrans" cxnId="{49D361BB-904D-4A63-A864-A0BB629E1680}">
      <dgm:prSet/>
      <dgm:spPr/>
      <dgm:t>
        <a:bodyPr/>
        <a:lstStyle/>
        <a:p>
          <a:endParaRPr lang="fr-FR"/>
        </a:p>
      </dgm:t>
    </dgm:pt>
    <dgm:pt modelId="{39CCAA7F-6CDD-4354-BD99-351D389C805C}">
      <dgm:prSet phldrT="[Texte]" custT="1"/>
      <dgm:spPr>
        <a:solidFill>
          <a:srgbClr val="92D050"/>
        </a:solidFill>
      </dgm:spPr>
      <dgm:t>
        <a:bodyPr/>
        <a:lstStyle/>
        <a:p>
          <a:r>
            <a:rPr lang="fr-FR" sz="1600" dirty="0" smtClean="0">
              <a:solidFill>
                <a:schemeClr val="tx1"/>
              </a:solidFill>
            </a:rPr>
            <a:t>Entraineurs</a:t>
          </a:r>
          <a:endParaRPr lang="fr-FR" sz="1600" dirty="0">
            <a:solidFill>
              <a:schemeClr val="tx1"/>
            </a:solidFill>
          </a:endParaRPr>
        </a:p>
      </dgm:t>
    </dgm:pt>
    <dgm:pt modelId="{088D8D5D-7351-46EE-B165-94AFAEBC488B}" type="parTrans" cxnId="{42911385-04BA-4C71-B49F-D88C4269E79D}">
      <dgm:prSet/>
      <dgm:spPr/>
      <dgm:t>
        <a:bodyPr/>
        <a:lstStyle/>
        <a:p>
          <a:endParaRPr lang="fr-FR"/>
        </a:p>
      </dgm:t>
    </dgm:pt>
    <dgm:pt modelId="{E8963229-82B5-49B6-B512-D8E2E27F30DF}" type="sibTrans" cxnId="{42911385-04BA-4C71-B49F-D88C4269E79D}">
      <dgm:prSet/>
      <dgm:spPr/>
      <dgm:t>
        <a:bodyPr/>
        <a:lstStyle/>
        <a:p>
          <a:endParaRPr lang="fr-FR"/>
        </a:p>
      </dgm:t>
    </dgm:pt>
    <dgm:pt modelId="{31EBA06E-ACC4-4D2D-8026-78AE7E1AF21E}">
      <dgm:prSet phldrT="[Texte]" custT="1"/>
      <dgm:spPr>
        <a:solidFill>
          <a:schemeClr val="accent2"/>
        </a:solidFill>
      </dgm:spPr>
      <dgm:t>
        <a:bodyPr/>
        <a:lstStyle/>
        <a:p>
          <a:r>
            <a:rPr lang="fr-FR" sz="1600" dirty="0" smtClean="0">
              <a:solidFill>
                <a:schemeClr val="tx1"/>
              </a:solidFill>
            </a:rPr>
            <a:t>Les Partenaires</a:t>
          </a:r>
          <a:endParaRPr lang="fr-FR" sz="1600" dirty="0">
            <a:solidFill>
              <a:schemeClr val="tx1"/>
            </a:solidFill>
          </a:endParaRPr>
        </a:p>
      </dgm:t>
    </dgm:pt>
    <dgm:pt modelId="{FE3A9241-799A-4ACC-85CC-997E4C197D9A}" type="parTrans" cxnId="{F2B64098-9E6A-40E0-9D28-5243088F8C26}">
      <dgm:prSet/>
      <dgm:spPr/>
      <dgm:t>
        <a:bodyPr/>
        <a:lstStyle/>
        <a:p>
          <a:endParaRPr lang="fr-FR"/>
        </a:p>
      </dgm:t>
    </dgm:pt>
    <dgm:pt modelId="{22EE287E-9BD7-40C1-B5BC-7273009A9BEF}" type="sibTrans" cxnId="{F2B64098-9E6A-40E0-9D28-5243088F8C26}">
      <dgm:prSet/>
      <dgm:spPr/>
      <dgm:t>
        <a:bodyPr/>
        <a:lstStyle/>
        <a:p>
          <a:endParaRPr lang="fr-FR"/>
        </a:p>
      </dgm:t>
    </dgm:pt>
    <dgm:pt modelId="{54FD7199-B395-4937-BD68-E4F9BC35B2BC}" type="pres">
      <dgm:prSet presAssocID="{DDC6C26B-5C44-4280-9EB3-068FD976E089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D644DDD9-B6F8-4655-8D8B-43C9D6CB8B31}" type="pres">
      <dgm:prSet presAssocID="{96DE3086-D6B2-489F-AF48-8912E4EC9D72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630CB0D-5484-48AC-974A-7422A6AC5BE4}" type="pres">
      <dgm:prSet presAssocID="{96DE3086-D6B2-489F-AF48-8912E4EC9D72}" presName="spNode" presStyleCnt="0"/>
      <dgm:spPr/>
    </dgm:pt>
    <dgm:pt modelId="{6AC8799C-ECCB-4A46-BF36-CC5BC71CC2D7}" type="pres">
      <dgm:prSet presAssocID="{0DB38E35-C61B-4A48-A372-8FCB75FC5BF9}" presName="sibTrans" presStyleLbl="sibTrans1D1" presStyleIdx="0" presStyleCnt="7"/>
      <dgm:spPr/>
      <dgm:t>
        <a:bodyPr/>
        <a:lstStyle/>
        <a:p>
          <a:endParaRPr lang="fr-FR"/>
        </a:p>
      </dgm:t>
    </dgm:pt>
    <dgm:pt modelId="{3E5D2AD9-4686-49B8-B72A-27931EEEC98A}" type="pres">
      <dgm:prSet presAssocID="{E7A6D2EE-2FCB-4C10-9D9D-5E61B8C49FEA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4B0552B-2F5D-4824-9E58-DB9788997F5F}" type="pres">
      <dgm:prSet presAssocID="{E7A6D2EE-2FCB-4C10-9D9D-5E61B8C49FEA}" presName="spNode" presStyleCnt="0"/>
      <dgm:spPr/>
    </dgm:pt>
    <dgm:pt modelId="{51A1BF9F-D5BC-4532-A20E-C97178709D63}" type="pres">
      <dgm:prSet presAssocID="{72B07F42-027A-4A6E-B634-2079767EC72A}" presName="sibTrans" presStyleLbl="sibTrans1D1" presStyleIdx="1" presStyleCnt="7"/>
      <dgm:spPr/>
      <dgm:t>
        <a:bodyPr/>
        <a:lstStyle/>
        <a:p>
          <a:endParaRPr lang="fr-FR"/>
        </a:p>
      </dgm:t>
    </dgm:pt>
    <dgm:pt modelId="{BF2620E6-571C-4256-A0DD-CC7C9B162EE7}" type="pres">
      <dgm:prSet presAssocID="{12779662-B3F8-4710-ADEE-2BEA2DF93632}" presName="node" presStyleLbl="node1" presStyleIdx="2" presStyleCnt="7" custRadScaleRad="100277" custRadScaleInc="394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699870B-CD9B-4443-A7E1-C210A6347CB8}" type="pres">
      <dgm:prSet presAssocID="{12779662-B3F8-4710-ADEE-2BEA2DF93632}" presName="spNode" presStyleCnt="0"/>
      <dgm:spPr/>
    </dgm:pt>
    <dgm:pt modelId="{324CD12F-8702-4DB9-8B3A-D36E9C436545}" type="pres">
      <dgm:prSet presAssocID="{3C5701BA-391C-4E91-B535-08C709BB89B9}" presName="sibTrans" presStyleLbl="sibTrans1D1" presStyleIdx="2" presStyleCnt="7"/>
      <dgm:spPr/>
      <dgm:t>
        <a:bodyPr/>
        <a:lstStyle/>
        <a:p>
          <a:endParaRPr lang="fr-FR"/>
        </a:p>
      </dgm:t>
    </dgm:pt>
    <dgm:pt modelId="{4627FD45-330A-4CCC-BE37-47EB0B9CA3C6}" type="pres">
      <dgm:prSet presAssocID="{5620B244-DBE7-4A4A-826A-3DF264E26B6A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81771C6-EFE7-494B-ABD6-1D6046A39F0C}" type="pres">
      <dgm:prSet presAssocID="{5620B244-DBE7-4A4A-826A-3DF264E26B6A}" presName="spNode" presStyleCnt="0"/>
      <dgm:spPr/>
    </dgm:pt>
    <dgm:pt modelId="{B4F13D4D-1EA3-4EC5-9AFC-5CC99767EFE6}" type="pres">
      <dgm:prSet presAssocID="{D2D4532C-0577-4870-BC45-0D10B9E1D07C}" presName="sibTrans" presStyleLbl="sibTrans1D1" presStyleIdx="3" presStyleCnt="7"/>
      <dgm:spPr/>
      <dgm:t>
        <a:bodyPr/>
        <a:lstStyle/>
        <a:p>
          <a:endParaRPr lang="fr-FR"/>
        </a:p>
      </dgm:t>
    </dgm:pt>
    <dgm:pt modelId="{80F3756C-447B-44FC-A73B-DF4F06606C29}" type="pres">
      <dgm:prSet presAssocID="{736A51FE-E49C-4364-B07D-F2DCF4CCE02A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A892405-AF7C-4407-9E46-BC7586A9107A}" type="pres">
      <dgm:prSet presAssocID="{736A51FE-E49C-4364-B07D-F2DCF4CCE02A}" presName="spNode" presStyleCnt="0"/>
      <dgm:spPr/>
    </dgm:pt>
    <dgm:pt modelId="{98311ED8-5FE3-4118-B5BA-55D1B809ACD1}" type="pres">
      <dgm:prSet presAssocID="{EBA875C8-72DE-4222-8785-4A7F700EC9EB}" presName="sibTrans" presStyleLbl="sibTrans1D1" presStyleIdx="4" presStyleCnt="7"/>
      <dgm:spPr/>
      <dgm:t>
        <a:bodyPr/>
        <a:lstStyle/>
        <a:p>
          <a:endParaRPr lang="fr-FR"/>
        </a:p>
      </dgm:t>
    </dgm:pt>
    <dgm:pt modelId="{9EAF265E-4870-4BF1-B3C9-FE4520B01D93}" type="pres">
      <dgm:prSet presAssocID="{39CCAA7F-6CDD-4354-BD99-351D389C805C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CF3F03-CC1D-42F7-91C3-4C8A15DB21EF}" type="pres">
      <dgm:prSet presAssocID="{39CCAA7F-6CDD-4354-BD99-351D389C805C}" presName="spNode" presStyleCnt="0"/>
      <dgm:spPr/>
    </dgm:pt>
    <dgm:pt modelId="{CEE12626-E5FE-44D1-A6FA-1003EBC65203}" type="pres">
      <dgm:prSet presAssocID="{E8963229-82B5-49B6-B512-D8E2E27F30DF}" presName="sibTrans" presStyleLbl="sibTrans1D1" presStyleIdx="5" presStyleCnt="7"/>
      <dgm:spPr/>
      <dgm:t>
        <a:bodyPr/>
        <a:lstStyle/>
        <a:p>
          <a:endParaRPr lang="fr-FR"/>
        </a:p>
      </dgm:t>
    </dgm:pt>
    <dgm:pt modelId="{8AD33B8F-34D6-478E-85D8-E777D4857678}" type="pres">
      <dgm:prSet presAssocID="{31EBA06E-ACC4-4D2D-8026-78AE7E1AF21E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051ED3F-9C40-47F0-BF2C-DEAC401016C0}" type="pres">
      <dgm:prSet presAssocID="{31EBA06E-ACC4-4D2D-8026-78AE7E1AF21E}" presName="spNode" presStyleCnt="0"/>
      <dgm:spPr/>
    </dgm:pt>
    <dgm:pt modelId="{BE085A40-9F98-49A9-AE45-5C95D0B5B263}" type="pres">
      <dgm:prSet presAssocID="{22EE287E-9BD7-40C1-B5BC-7273009A9BEF}" presName="sibTrans" presStyleLbl="sibTrans1D1" presStyleIdx="6" presStyleCnt="7"/>
      <dgm:spPr/>
      <dgm:t>
        <a:bodyPr/>
        <a:lstStyle/>
        <a:p>
          <a:endParaRPr lang="fr-FR"/>
        </a:p>
      </dgm:t>
    </dgm:pt>
  </dgm:ptLst>
  <dgm:cxnLst>
    <dgm:cxn modelId="{5A588D24-8742-462B-832A-01DBF8789EEB}" srcId="{DDC6C26B-5C44-4280-9EB3-068FD976E089}" destId="{12779662-B3F8-4710-ADEE-2BEA2DF93632}" srcOrd="2" destOrd="0" parTransId="{D4F53988-095A-4099-876F-C0E3C417E2EE}" sibTransId="{3C5701BA-391C-4E91-B535-08C709BB89B9}"/>
    <dgm:cxn modelId="{B8EFA342-0827-4378-A3BF-BCA34B9FD6C7}" type="presOf" srcId="{DDC6C26B-5C44-4280-9EB3-068FD976E089}" destId="{54FD7199-B395-4937-BD68-E4F9BC35B2BC}" srcOrd="0" destOrd="0" presId="urn:microsoft.com/office/officeart/2005/8/layout/cycle6"/>
    <dgm:cxn modelId="{F6E4B6BD-ED47-4286-A6B3-43B96F53B182}" type="presOf" srcId="{3C5701BA-391C-4E91-B535-08C709BB89B9}" destId="{324CD12F-8702-4DB9-8B3A-D36E9C436545}" srcOrd="0" destOrd="0" presId="urn:microsoft.com/office/officeart/2005/8/layout/cycle6"/>
    <dgm:cxn modelId="{C5E53FDB-CF14-499A-8E4C-0AD388BB870A}" type="presOf" srcId="{E7A6D2EE-2FCB-4C10-9D9D-5E61B8C49FEA}" destId="{3E5D2AD9-4686-49B8-B72A-27931EEEC98A}" srcOrd="0" destOrd="0" presId="urn:microsoft.com/office/officeart/2005/8/layout/cycle6"/>
    <dgm:cxn modelId="{4AC64EB1-31AC-4A61-9E6F-A1699BF23627}" type="presOf" srcId="{EBA875C8-72DE-4222-8785-4A7F700EC9EB}" destId="{98311ED8-5FE3-4118-B5BA-55D1B809ACD1}" srcOrd="0" destOrd="0" presId="urn:microsoft.com/office/officeart/2005/8/layout/cycle6"/>
    <dgm:cxn modelId="{9ACAEA0C-ADB2-4872-8214-A15F755124E9}" srcId="{DDC6C26B-5C44-4280-9EB3-068FD976E089}" destId="{5620B244-DBE7-4A4A-826A-3DF264E26B6A}" srcOrd="3" destOrd="0" parTransId="{8DB123A2-1991-4953-81F2-50DECC9648E8}" sibTransId="{D2D4532C-0577-4870-BC45-0D10B9E1D07C}"/>
    <dgm:cxn modelId="{0D1D7338-7175-4B27-835C-EA9A2F427A20}" type="presOf" srcId="{72B07F42-027A-4A6E-B634-2079767EC72A}" destId="{51A1BF9F-D5BC-4532-A20E-C97178709D63}" srcOrd="0" destOrd="0" presId="urn:microsoft.com/office/officeart/2005/8/layout/cycle6"/>
    <dgm:cxn modelId="{9CEE18CD-D4B4-4018-93E8-A6883CD23CEB}" type="presOf" srcId="{E8963229-82B5-49B6-B512-D8E2E27F30DF}" destId="{CEE12626-E5FE-44D1-A6FA-1003EBC65203}" srcOrd="0" destOrd="0" presId="urn:microsoft.com/office/officeart/2005/8/layout/cycle6"/>
    <dgm:cxn modelId="{D445F18D-47F2-42BB-8B52-64A8552A8B9C}" srcId="{DDC6C26B-5C44-4280-9EB3-068FD976E089}" destId="{E7A6D2EE-2FCB-4C10-9D9D-5E61B8C49FEA}" srcOrd="1" destOrd="0" parTransId="{BBD1B47A-8210-403D-BF33-68BE3F794F6C}" sibTransId="{72B07F42-027A-4A6E-B634-2079767EC72A}"/>
    <dgm:cxn modelId="{42911385-04BA-4C71-B49F-D88C4269E79D}" srcId="{DDC6C26B-5C44-4280-9EB3-068FD976E089}" destId="{39CCAA7F-6CDD-4354-BD99-351D389C805C}" srcOrd="5" destOrd="0" parTransId="{088D8D5D-7351-46EE-B165-94AFAEBC488B}" sibTransId="{E8963229-82B5-49B6-B512-D8E2E27F30DF}"/>
    <dgm:cxn modelId="{49D361BB-904D-4A63-A864-A0BB629E1680}" srcId="{DDC6C26B-5C44-4280-9EB3-068FD976E089}" destId="{736A51FE-E49C-4364-B07D-F2DCF4CCE02A}" srcOrd="4" destOrd="0" parTransId="{9BD0F94A-E92D-4CFC-86E9-336B2726AA72}" sibTransId="{EBA875C8-72DE-4222-8785-4A7F700EC9EB}"/>
    <dgm:cxn modelId="{3DD7CE7B-9F52-449A-A70B-A1A8785BFDC0}" type="presOf" srcId="{12779662-B3F8-4710-ADEE-2BEA2DF93632}" destId="{BF2620E6-571C-4256-A0DD-CC7C9B162EE7}" srcOrd="0" destOrd="0" presId="urn:microsoft.com/office/officeart/2005/8/layout/cycle6"/>
    <dgm:cxn modelId="{5D00537A-4FB8-4F20-8EA1-E3794EFBF753}" type="presOf" srcId="{31EBA06E-ACC4-4D2D-8026-78AE7E1AF21E}" destId="{8AD33B8F-34D6-478E-85D8-E777D4857678}" srcOrd="0" destOrd="0" presId="urn:microsoft.com/office/officeart/2005/8/layout/cycle6"/>
    <dgm:cxn modelId="{6BED1BD3-2264-41F1-8424-1BF612C770E4}" type="presOf" srcId="{96DE3086-D6B2-489F-AF48-8912E4EC9D72}" destId="{D644DDD9-B6F8-4655-8D8B-43C9D6CB8B31}" srcOrd="0" destOrd="0" presId="urn:microsoft.com/office/officeart/2005/8/layout/cycle6"/>
    <dgm:cxn modelId="{70917F5B-0E35-4A2A-88D5-B45EBFE53C87}" srcId="{DDC6C26B-5C44-4280-9EB3-068FD976E089}" destId="{96DE3086-D6B2-489F-AF48-8912E4EC9D72}" srcOrd="0" destOrd="0" parTransId="{518E41D5-5D2B-48D8-8E50-947DB28AEA31}" sibTransId="{0DB38E35-C61B-4A48-A372-8FCB75FC5BF9}"/>
    <dgm:cxn modelId="{50F4AC5D-856B-450E-92ED-DBAC53E603B0}" type="presOf" srcId="{736A51FE-E49C-4364-B07D-F2DCF4CCE02A}" destId="{80F3756C-447B-44FC-A73B-DF4F06606C29}" srcOrd="0" destOrd="0" presId="urn:microsoft.com/office/officeart/2005/8/layout/cycle6"/>
    <dgm:cxn modelId="{7B65C531-FFE7-4E3A-8A9A-35C3CB3C21C8}" type="presOf" srcId="{D2D4532C-0577-4870-BC45-0D10B9E1D07C}" destId="{B4F13D4D-1EA3-4EC5-9AFC-5CC99767EFE6}" srcOrd="0" destOrd="0" presId="urn:microsoft.com/office/officeart/2005/8/layout/cycle6"/>
    <dgm:cxn modelId="{FAB9D925-528C-41A6-A754-ED1DBC7AC365}" type="presOf" srcId="{22EE287E-9BD7-40C1-B5BC-7273009A9BEF}" destId="{BE085A40-9F98-49A9-AE45-5C95D0B5B263}" srcOrd="0" destOrd="0" presId="urn:microsoft.com/office/officeart/2005/8/layout/cycle6"/>
    <dgm:cxn modelId="{F2B64098-9E6A-40E0-9D28-5243088F8C26}" srcId="{DDC6C26B-5C44-4280-9EB3-068FD976E089}" destId="{31EBA06E-ACC4-4D2D-8026-78AE7E1AF21E}" srcOrd="6" destOrd="0" parTransId="{FE3A9241-799A-4ACC-85CC-997E4C197D9A}" sibTransId="{22EE287E-9BD7-40C1-B5BC-7273009A9BEF}"/>
    <dgm:cxn modelId="{3DDF9ABB-0C0F-499C-938E-E80E9FDCAF9D}" type="presOf" srcId="{5620B244-DBE7-4A4A-826A-3DF264E26B6A}" destId="{4627FD45-330A-4CCC-BE37-47EB0B9CA3C6}" srcOrd="0" destOrd="0" presId="urn:microsoft.com/office/officeart/2005/8/layout/cycle6"/>
    <dgm:cxn modelId="{E4ACB6CF-9AA6-48CF-8DE5-1F7032095B56}" type="presOf" srcId="{0DB38E35-C61B-4A48-A372-8FCB75FC5BF9}" destId="{6AC8799C-ECCB-4A46-BF36-CC5BC71CC2D7}" srcOrd="0" destOrd="0" presId="urn:microsoft.com/office/officeart/2005/8/layout/cycle6"/>
    <dgm:cxn modelId="{36E9852F-760D-4879-BA21-65CFB3291208}" type="presOf" srcId="{39CCAA7F-6CDD-4354-BD99-351D389C805C}" destId="{9EAF265E-4870-4BF1-B3C9-FE4520B01D93}" srcOrd="0" destOrd="0" presId="urn:microsoft.com/office/officeart/2005/8/layout/cycle6"/>
    <dgm:cxn modelId="{E66C76A8-3C23-4A9A-A508-554A4AFAAB23}" type="presParOf" srcId="{54FD7199-B395-4937-BD68-E4F9BC35B2BC}" destId="{D644DDD9-B6F8-4655-8D8B-43C9D6CB8B31}" srcOrd="0" destOrd="0" presId="urn:microsoft.com/office/officeart/2005/8/layout/cycle6"/>
    <dgm:cxn modelId="{C10EC0EC-88A3-49FD-B7DA-C8C5A17E1D53}" type="presParOf" srcId="{54FD7199-B395-4937-BD68-E4F9BC35B2BC}" destId="{0630CB0D-5484-48AC-974A-7422A6AC5BE4}" srcOrd="1" destOrd="0" presId="urn:microsoft.com/office/officeart/2005/8/layout/cycle6"/>
    <dgm:cxn modelId="{19B10A98-4899-4CEF-82C7-704B58340B27}" type="presParOf" srcId="{54FD7199-B395-4937-BD68-E4F9BC35B2BC}" destId="{6AC8799C-ECCB-4A46-BF36-CC5BC71CC2D7}" srcOrd="2" destOrd="0" presId="urn:microsoft.com/office/officeart/2005/8/layout/cycle6"/>
    <dgm:cxn modelId="{FECC0461-0E78-4F81-86A5-1EB10A7CA085}" type="presParOf" srcId="{54FD7199-B395-4937-BD68-E4F9BC35B2BC}" destId="{3E5D2AD9-4686-49B8-B72A-27931EEEC98A}" srcOrd="3" destOrd="0" presId="urn:microsoft.com/office/officeart/2005/8/layout/cycle6"/>
    <dgm:cxn modelId="{96328A94-F657-4DB5-A099-9D4153F089DB}" type="presParOf" srcId="{54FD7199-B395-4937-BD68-E4F9BC35B2BC}" destId="{C4B0552B-2F5D-4824-9E58-DB9788997F5F}" srcOrd="4" destOrd="0" presId="urn:microsoft.com/office/officeart/2005/8/layout/cycle6"/>
    <dgm:cxn modelId="{766EBDEC-680F-4584-8DD0-B7C4159A6D6B}" type="presParOf" srcId="{54FD7199-B395-4937-BD68-E4F9BC35B2BC}" destId="{51A1BF9F-D5BC-4532-A20E-C97178709D63}" srcOrd="5" destOrd="0" presId="urn:microsoft.com/office/officeart/2005/8/layout/cycle6"/>
    <dgm:cxn modelId="{E2039CC3-5268-4FEC-BB7C-2E58B4C952E1}" type="presParOf" srcId="{54FD7199-B395-4937-BD68-E4F9BC35B2BC}" destId="{BF2620E6-571C-4256-A0DD-CC7C9B162EE7}" srcOrd="6" destOrd="0" presId="urn:microsoft.com/office/officeart/2005/8/layout/cycle6"/>
    <dgm:cxn modelId="{93C0031A-FE93-4EBD-AE19-500948B05026}" type="presParOf" srcId="{54FD7199-B395-4937-BD68-E4F9BC35B2BC}" destId="{5699870B-CD9B-4443-A7E1-C210A6347CB8}" srcOrd="7" destOrd="0" presId="urn:microsoft.com/office/officeart/2005/8/layout/cycle6"/>
    <dgm:cxn modelId="{AB2922B8-6793-4C1B-8ADA-DBA6F4F69DD4}" type="presParOf" srcId="{54FD7199-B395-4937-BD68-E4F9BC35B2BC}" destId="{324CD12F-8702-4DB9-8B3A-D36E9C436545}" srcOrd="8" destOrd="0" presId="urn:microsoft.com/office/officeart/2005/8/layout/cycle6"/>
    <dgm:cxn modelId="{49E94434-CC45-4A86-827A-0AD0E4C375CA}" type="presParOf" srcId="{54FD7199-B395-4937-BD68-E4F9BC35B2BC}" destId="{4627FD45-330A-4CCC-BE37-47EB0B9CA3C6}" srcOrd="9" destOrd="0" presId="urn:microsoft.com/office/officeart/2005/8/layout/cycle6"/>
    <dgm:cxn modelId="{32E833ED-9993-4EE5-B5E9-338B92F793FF}" type="presParOf" srcId="{54FD7199-B395-4937-BD68-E4F9BC35B2BC}" destId="{481771C6-EFE7-494B-ABD6-1D6046A39F0C}" srcOrd="10" destOrd="0" presId="urn:microsoft.com/office/officeart/2005/8/layout/cycle6"/>
    <dgm:cxn modelId="{A90D53D2-7BD0-4DAE-858D-6A5D0B1A2ED8}" type="presParOf" srcId="{54FD7199-B395-4937-BD68-E4F9BC35B2BC}" destId="{B4F13D4D-1EA3-4EC5-9AFC-5CC99767EFE6}" srcOrd="11" destOrd="0" presId="urn:microsoft.com/office/officeart/2005/8/layout/cycle6"/>
    <dgm:cxn modelId="{C2D83263-2805-4DAF-9F93-B996C5EEF1B8}" type="presParOf" srcId="{54FD7199-B395-4937-BD68-E4F9BC35B2BC}" destId="{80F3756C-447B-44FC-A73B-DF4F06606C29}" srcOrd="12" destOrd="0" presId="urn:microsoft.com/office/officeart/2005/8/layout/cycle6"/>
    <dgm:cxn modelId="{25451BC9-6A42-409E-A8B1-D88FA05D26A9}" type="presParOf" srcId="{54FD7199-B395-4937-BD68-E4F9BC35B2BC}" destId="{1A892405-AF7C-4407-9E46-BC7586A9107A}" srcOrd="13" destOrd="0" presId="urn:microsoft.com/office/officeart/2005/8/layout/cycle6"/>
    <dgm:cxn modelId="{4F371880-9719-44E2-903B-BB6A365F9BB4}" type="presParOf" srcId="{54FD7199-B395-4937-BD68-E4F9BC35B2BC}" destId="{98311ED8-5FE3-4118-B5BA-55D1B809ACD1}" srcOrd="14" destOrd="0" presId="urn:microsoft.com/office/officeart/2005/8/layout/cycle6"/>
    <dgm:cxn modelId="{A0987881-09E1-4635-8134-92911E88CAA1}" type="presParOf" srcId="{54FD7199-B395-4937-BD68-E4F9BC35B2BC}" destId="{9EAF265E-4870-4BF1-B3C9-FE4520B01D93}" srcOrd="15" destOrd="0" presId="urn:microsoft.com/office/officeart/2005/8/layout/cycle6"/>
    <dgm:cxn modelId="{E1F9E8B5-FD79-437A-B27C-C1BAD016BDC7}" type="presParOf" srcId="{54FD7199-B395-4937-BD68-E4F9BC35B2BC}" destId="{10CF3F03-CC1D-42F7-91C3-4C8A15DB21EF}" srcOrd="16" destOrd="0" presId="urn:microsoft.com/office/officeart/2005/8/layout/cycle6"/>
    <dgm:cxn modelId="{95BF162E-34FF-413E-B7ED-D5B9A1041022}" type="presParOf" srcId="{54FD7199-B395-4937-BD68-E4F9BC35B2BC}" destId="{CEE12626-E5FE-44D1-A6FA-1003EBC65203}" srcOrd="17" destOrd="0" presId="urn:microsoft.com/office/officeart/2005/8/layout/cycle6"/>
    <dgm:cxn modelId="{8C8F3076-573A-4C8B-A0BD-51CBB9EDF3C7}" type="presParOf" srcId="{54FD7199-B395-4937-BD68-E4F9BC35B2BC}" destId="{8AD33B8F-34D6-478E-85D8-E777D4857678}" srcOrd="18" destOrd="0" presId="urn:microsoft.com/office/officeart/2005/8/layout/cycle6"/>
    <dgm:cxn modelId="{28747210-435F-47C3-941B-75AFE4AA906A}" type="presParOf" srcId="{54FD7199-B395-4937-BD68-E4F9BC35B2BC}" destId="{0051ED3F-9C40-47F0-BF2C-DEAC401016C0}" srcOrd="19" destOrd="0" presId="urn:microsoft.com/office/officeart/2005/8/layout/cycle6"/>
    <dgm:cxn modelId="{18002A56-F786-43FE-8BAB-40BB8D14C521}" type="presParOf" srcId="{54FD7199-B395-4937-BD68-E4F9BC35B2BC}" destId="{BE085A40-9F98-49A9-AE45-5C95D0B5B263}" srcOrd="20" destOrd="0" presId="urn:microsoft.com/office/officeart/2005/8/layout/cycle6"/>
  </dgm:cxnLst>
  <dgm:bg/>
  <dgm:whole/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105201" y="-782073"/>
          <a:ext cx="6079692" cy="6079692"/>
        </a:xfrm>
        <a:prstGeom prst="blockArc">
          <a:avLst>
            <a:gd name="adj1" fmla="val 18900000"/>
            <a:gd name="adj2" fmla="val 2700000"/>
            <a:gd name="adj3" fmla="val 355"/>
          </a:avLst>
        </a:prstGeom>
        <a:noFill/>
        <a:ln w="25400" cap="flat" cmpd="sng" algn="ctr">
          <a:solidFill>
            <a:schemeClr val="accent4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626757" y="451554"/>
          <a:ext cx="7385707" cy="903109"/>
        </a:xfrm>
        <a:prstGeom prst="rect">
          <a:avLst/>
        </a:prstGeom>
        <a:gradFill rotWithShape="0">
          <a:gsLst>
            <a:gs pos="0">
              <a:schemeClr val="accent4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16843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Plan </a:t>
          </a:r>
          <a:r>
            <a:rPr lang="fr-FR" sz="1800" kern="1200" smtClean="0"/>
            <a:t>d’action par domaine</a:t>
          </a:r>
          <a:endParaRPr lang="fr-FR" sz="1800" kern="1200" dirty="0" smtClean="0"/>
        </a:p>
      </dsp:txBody>
      <dsp:txXfrm>
        <a:off x="626757" y="451554"/>
        <a:ext cx="7385707" cy="903109"/>
      </dsp:txXfrm>
    </dsp:sp>
    <dsp:sp modelId="{EBBCF617-4DDB-47D0-98C7-99413FA904B7}">
      <dsp:nvSpPr>
        <dsp:cNvPr id="0" name=""/>
        <dsp:cNvSpPr/>
      </dsp:nvSpPr>
      <dsp:spPr>
        <a:xfrm>
          <a:off x="62314" y="338665"/>
          <a:ext cx="1128886" cy="11288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34081BC-E544-47DD-A973-A5583AA2D16C}">
      <dsp:nvSpPr>
        <dsp:cNvPr id="0" name=""/>
        <dsp:cNvSpPr/>
      </dsp:nvSpPr>
      <dsp:spPr>
        <a:xfrm>
          <a:off x="955037" y="1806218"/>
          <a:ext cx="7057427" cy="903109"/>
        </a:xfrm>
        <a:prstGeom prst="rect">
          <a:avLst/>
        </a:prstGeom>
        <a:gradFill rotWithShape="0">
          <a:gsLst>
            <a:gs pos="0">
              <a:schemeClr val="accent4">
                <a:shade val="50000"/>
                <a:hueOff val="-139622"/>
                <a:satOff val="-4225"/>
                <a:lumOff val="27741"/>
                <a:alphaOff val="0"/>
                <a:shade val="51000"/>
                <a:satMod val="130000"/>
              </a:schemeClr>
            </a:gs>
            <a:gs pos="80000">
              <a:schemeClr val="accent4">
                <a:shade val="50000"/>
                <a:hueOff val="-139622"/>
                <a:satOff val="-4225"/>
                <a:lumOff val="27741"/>
                <a:alphaOff val="0"/>
                <a:shade val="93000"/>
                <a:satMod val="130000"/>
              </a:schemeClr>
            </a:gs>
            <a:gs pos="100000">
              <a:schemeClr val="accent4">
                <a:shade val="50000"/>
                <a:hueOff val="-139622"/>
                <a:satOff val="-4225"/>
                <a:lumOff val="2774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16843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Plan d’action prioritaire par acteur</a:t>
          </a:r>
          <a:endParaRPr lang="fr-FR" sz="1800" kern="1200" dirty="0" smtClean="0"/>
        </a:p>
      </dsp:txBody>
      <dsp:txXfrm>
        <a:off x="955037" y="1806218"/>
        <a:ext cx="7057427" cy="903109"/>
      </dsp:txXfrm>
    </dsp:sp>
    <dsp:sp modelId="{A213A996-4253-4666-B38F-D109C0DA3D4C}">
      <dsp:nvSpPr>
        <dsp:cNvPr id="0" name=""/>
        <dsp:cNvSpPr/>
      </dsp:nvSpPr>
      <dsp:spPr>
        <a:xfrm>
          <a:off x="390594" y="1693329"/>
          <a:ext cx="1128886" cy="11288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shade val="50000"/>
              <a:hueOff val="-139622"/>
              <a:satOff val="-4225"/>
              <a:lumOff val="27741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8061B188-DC1F-BE46-9A43-D4F7D12E485B}">
      <dsp:nvSpPr>
        <dsp:cNvPr id="0" name=""/>
        <dsp:cNvSpPr/>
      </dsp:nvSpPr>
      <dsp:spPr>
        <a:xfrm>
          <a:off x="626757" y="3160881"/>
          <a:ext cx="7385707" cy="903109"/>
        </a:xfrm>
        <a:prstGeom prst="rect">
          <a:avLst/>
        </a:prstGeom>
        <a:gradFill rotWithShape="0">
          <a:gsLst>
            <a:gs pos="0">
              <a:schemeClr val="accent4">
                <a:shade val="50000"/>
                <a:hueOff val="-139622"/>
                <a:satOff val="-4225"/>
                <a:lumOff val="27741"/>
                <a:alphaOff val="0"/>
                <a:shade val="51000"/>
                <a:satMod val="130000"/>
              </a:schemeClr>
            </a:gs>
            <a:gs pos="80000">
              <a:schemeClr val="accent4">
                <a:shade val="50000"/>
                <a:hueOff val="-139622"/>
                <a:satOff val="-4225"/>
                <a:lumOff val="27741"/>
                <a:alphaOff val="0"/>
                <a:shade val="93000"/>
                <a:satMod val="130000"/>
              </a:schemeClr>
            </a:gs>
            <a:gs pos="100000">
              <a:schemeClr val="accent4">
                <a:shade val="50000"/>
                <a:hueOff val="-139622"/>
                <a:satOff val="-4225"/>
                <a:lumOff val="2774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16843" tIns="45720" rIns="45720" bIns="4572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Annexes</a:t>
          </a:r>
          <a:endParaRPr lang="fr-FR" sz="1800" kern="1200" dirty="0" smtClean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Plan d’action CRM</a:t>
          </a:r>
          <a:endParaRPr lang="fr-FR" sz="1800" kern="1200" dirty="0" smtClean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Principaux incidents depuis début Novembre</a:t>
          </a:r>
          <a:endParaRPr lang="fr-FR" sz="1800" kern="1200" dirty="0" smtClean="0"/>
        </a:p>
      </dsp:txBody>
      <dsp:txXfrm>
        <a:off x="626757" y="3160881"/>
        <a:ext cx="7385707" cy="903109"/>
      </dsp:txXfrm>
    </dsp:sp>
    <dsp:sp modelId="{AB607640-669E-C941-85E6-89608ADC3D85}">
      <dsp:nvSpPr>
        <dsp:cNvPr id="0" name=""/>
        <dsp:cNvSpPr/>
      </dsp:nvSpPr>
      <dsp:spPr>
        <a:xfrm>
          <a:off x="62314" y="3047992"/>
          <a:ext cx="1128886" cy="11288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shade val="50000"/>
              <a:hueOff val="-139622"/>
              <a:satOff val="-4225"/>
              <a:lumOff val="27741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76BA053A-33DE-1A41-8644-094BC57997AE}" type="datetime1">
              <a:rPr lang="fr-FR"/>
              <a:pPr/>
              <a:t>15/11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D57BE7FE-E4A3-0A4D-9492-11C4CDC0319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6023419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35A36969-D6F7-F94C-8D5E-FCC412260ED5}" type="datetime1">
              <a:rPr lang="fr-FR"/>
              <a:pPr/>
              <a:t>15/11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35A53EB7-FBAD-6F4B-9076-286EBF24A43D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9758166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déb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37288"/>
            <a:ext cx="9144000" cy="6207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/>
          </a:p>
        </p:txBody>
      </p:sp>
      <p:pic>
        <p:nvPicPr>
          <p:cNvPr id="6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48325" y="0"/>
            <a:ext cx="2879725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55576" y="1628800"/>
            <a:ext cx="7772400" cy="10001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28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127176" y="2780928"/>
            <a:ext cx="6400800" cy="10715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None/>
              <a:defRPr sz="280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 dirty="0"/>
          </a:p>
        </p:txBody>
      </p:sp>
      <p:sp>
        <p:nvSpPr>
          <p:cNvPr id="7" name="Espace réservé de la date 7"/>
          <p:cNvSpPr>
            <a:spLocks noGrp="1"/>
          </p:cNvSpPr>
          <p:nvPr>
            <p:ph type="dt" sz="half" idx="10"/>
          </p:nvPr>
        </p:nvSpPr>
        <p:spPr>
          <a:xfrm>
            <a:off x="457200" y="6021388"/>
            <a:ext cx="2133600" cy="365125"/>
          </a:xfrm>
        </p:spPr>
        <p:txBody>
          <a:bodyPr/>
          <a:lstStyle>
            <a:lvl1pPr>
              <a:defRPr sz="1800">
                <a:solidFill>
                  <a:srgbClr val="F18B2E"/>
                </a:solidFill>
                <a:cs typeface="Arial" charset="0"/>
              </a:defRPr>
            </a:lvl1pPr>
          </a:lstStyle>
          <a:p>
            <a:fld id="{3B3F0EE5-B9A6-4707-9876-B80B38EB6C3A}" type="datetime1">
              <a:rPr lang="fr-FR" smtClean="0"/>
              <a:pPr/>
              <a:t>15/11/20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483326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7264400" y="307975"/>
            <a:ext cx="288925" cy="600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7705725" y="307975"/>
            <a:ext cx="288925" cy="600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8CD7A03-5B65-994C-83CB-9A48F4F7C8EC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8270C17-A942-428D-A484-6D4963496A06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2308994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A756376-2475-D747-ACF9-EA860B353B8D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E19EB8C-A8F2-49EC-A8D6-171D4060586F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3058217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1BD3B8-1126-FE4F-BE67-0BA2363E9365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3EC7B6EE-D6B4-4A8F-A1A8-F15DCB028669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6336896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B72494-7E8D-764A-A7F3-2C623CB559DF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D49CE20E-3BA7-4D5E-B8EB-1B6BDFB6F6B9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92425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805A5F7-49BB-DE43-94AA-E6246ECB3A40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31EBA55B-4AD3-4EB4-A062-8D7E33EB5E45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8897777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DC01B0D-47AD-C94F-AF57-90F3E31F95B9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E027B083-E429-456A-8291-90538FEB539E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0010295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07C5AB0-3378-9D46-9B4B-128089A4BD7D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F91642AF-71A7-4F53-99D7-0D4273FC5534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0841837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8450" y="307975"/>
            <a:ext cx="1843088" cy="4849813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116013" y="307975"/>
            <a:ext cx="5380037" cy="4849813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24A30A7-88FD-E242-8EA5-929F059010C6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E883A85-CC94-485C-B6A3-125F21404FAF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018721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95536" y="1714488"/>
            <a:ext cx="8424936" cy="3802744"/>
          </a:xfrm>
          <a:prstGeom prst="rect">
            <a:avLst/>
          </a:prstGeom>
        </p:spPr>
        <p:txBody>
          <a:bodyPr/>
          <a:lstStyle>
            <a:lvl1pPr marL="0" indent="-414000">
              <a:spcBef>
                <a:spcPts val="600"/>
              </a:spcBef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 marL="432000" indent="-180000">
              <a:buClr>
                <a:srgbClr val="463436"/>
              </a:buClr>
              <a:buSzPct val="100000"/>
              <a:buFont typeface="Lucida Grande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2pPr>
            <a:lvl3pPr marL="604800" indent="-180000">
              <a:buFont typeface="Arial" pitchFamily="34" charset="0"/>
              <a:buChar char="•"/>
              <a:defRPr sz="14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3pPr>
            <a:lvl4pPr marL="900000" indent="-180000">
              <a:defRPr sz="12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5pPr>
            <a:lvl6pPr>
              <a:buFont typeface="Courier New" pitchFamily="49" charset="0"/>
              <a:buChar char="o"/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6pPr>
            <a:lvl7pPr>
              <a:buFont typeface="Wingdings" pitchFamily="2" charset="2"/>
              <a:buChar char="ü"/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7pPr>
            <a:lvl8pPr>
              <a:buFont typeface="Wingdings" pitchFamily="2" charset="2"/>
              <a:buChar char="§"/>
              <a:defRPr sz="10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8pPr>
            <a:lvl9pPr>
              <a:buFont typeface="Arial" pitchFamily="34" charset="0"/>
              <a:buChar char="−"/>
              <a:defRPr sz="10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800972" cy="78579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1F3963A-43DD-EB43-A4D9-AE3239085684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694697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tit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04025" y="549275"/>
            <a:ext cx="1649413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04025" y="0"/>
            <a:ext cx="1649413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ous-titre 2"/>
          <p:cNvSpPr>
            <a:spLocks noGrp="1"/>
          </p:cNvSpPr>
          <p:nvPr>
            <p:ph type="subTitle" idx="1"/>
          </p:nvPr>
        </p:nvSpPr>
        <p:spPr>
          <a:xfrm>
            <a:off x="2090882" y="3429000"/>
            <a:ext cx="6400800" cy="107157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r">
              <a:buNone/>
              <a:defRPr sz="2800" b="1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 dirty="0" smtClean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719282" y="1923868"/>
            <a:ext cx="7772400" cy="1470025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algn="r">
              <a:defRPr sz="3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97A4251-82A4-1144-8CA4-466AE71FDCFB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F5B08B1-E130-4785-968A-0E97F090C81C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586102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1474" y="1600201"/>
            <a:ext cx="8443914" cy="328602"/>
          </a:xfrm>
          <a:prstGeom prst="rect">
            <a:avLst/>
          </a:prstGeom>
        </p:spPr>
        <p:txBody>
          <a:bodyPr/>
          <a:lstStyle>
            <a:lvl1pPr marL="0" indent="-432000"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1600" b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2pPr>
            <a:lvl3pPr>
              <a:buFont typeface="Arial" pitchFamily="34" charset="0"/>
              <a:buChar char="•"/>
              <a:defRPr sz="1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3pPr>
            <a:lvl4pPr>
              <a:buFont typeface="Wingdings" pitchFamily="2" charset="2"/>
              <a:buChar char="ü"/>
              <a:defRPr sz="12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833307" y="2003310"/>
            <a:ext cx="8241567" cy="354120"/>
          </a:xfrm>
          <a:prstGeom prst="rect">
            <a:avLst/>
          </a:prstGeom>
        </p:spPr>
        <p:txBody>
          <a:bodyPr/>
          <a:lstStyle>
            <a:lvl1pPr marL="180975" indent="-163513">
              <a:buClr>
                <a:srgbClr val="463436"/>
              </a:buClr>
              <a:buFont typeface="Wingdings" charset="2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b="1">
                <a:solidFill>
                  <a:srgbClr val="1D81BD"/>
                </a:solidFill>
              </a:defRPr>
            </a:lvl2pPr>
            <a:lvl3pPr>
              <a:defRPr sz="1600" b="1" baseline="0">
                <a:solidFill>
                  <a:srgbClr val="1D81BD"/>
                </a:solidFill>
              </a:defRPr>
            </a:lvl3pPr>
            <a:lvl4pPr>
              <a:defRPr sz="1600" b="1">
                <a:solidFill>
                  <a:srgbClr val="1D81BD"/>
                </a:solidFill>
              </a:defRPr>
            </a:lvl4pPr>
            <a:lvl5pPr>
              <a:defRPr sz="1600" b="1">
                <a:solidFill>
                  <a:srgbClr val="1D81BD"/>
                </a:solidFill>
              </a:defRPr>
            </a:lvl5pPr>
            <a:lvl6pPr>
              <a:defRPr sz="1600" b="1">
                <a:solidFill>
                  <a:srgbClr val="1D81BD"/>
                </a:solidFill>
              </a:defRPr>
            </a:lvl6pPr>
            <a:lvl7pPr>
              <a:defRPr sz="1600" b="1">
                <a:solidFill>
                  <a:srgbClr val="1D81BD"/>
                </a:solidFill>
              </a:defRPr>
            </a:lvl7pPr>
            <a:lvl8pPr>
              <a:defRPr sz="1600" b="1">
                <a:solidFill>
                  <a:srgbClr val="1D81BD"/>
                </a:solidFill>
              </a:defRPr>
            </a:lvl8pPr>
            <a:lvl9pPr>
              <a:buNone/>
              <a:defRPr sz="1600" b="1">
                <a:solidFill>
                  <a:srgbClr val="1D81BD"/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037384" cy="7920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13" name="Espace réservé du contenu 14"/>
          <p:cNvSpPr>
            <a:spLocks noGrp="1"/>
          </p:cNvSpPr>
          <p:nvPr>
            <p:ph sz="quarter" idx="15"/>
          </p:nvPr>
        </p:nvSpPr>
        <p:spPr>
          <a:xfrm>
            <a:off x="827584" y="2428868"/>
            <a:ext cx="8247290" cy="3571900"/>
          </a:xfrm>
          <a:prstGeom prst="rect">
            <a:avLst/>
          </a:prstGeom>
        </p:spPr>
        <p:txBody>
          <a:bodyPr/>
          <a:lstStyle>
            <a:lvl1pPr marL="1588" indent="-1588" algn="just">
              <a:buFont typeface="Arial" pitchFamily="34" charset="0"/>
              <a:buNone/>
              <a:defRPr sz="14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F4AAB9A-83AE-584E-8D12-D8C74D9C9CA9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fld id="{10EC6AF3-B907-4D04-B68F-EBD5D641FA97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9324648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1474" y="1600201"/>
            <a:ext cx="8443914" cy="328602"/>
          </a:xfrm>
          <a:prstGeom prst="rect">
            <a:avLst/>
          </a:prstGeom>
        </p:spPr>
        <p:txBody>
          <a:bodyPr/>
          <a:lstStyle>
            <a:lvl1pPr marL="0" indent="-432000"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1600" b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2pPr>
            <a:lvl3pPr>
              <a:buFont typeface="Arial" pitchFamily="34" charset="0"/>
              <a:buChar char="•"/>
              <a:defRPr sz="1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3pPr>
            <a:lvl4pPr>
              <a:buFont typeface="Wingdings" pitchFamily="2" charset="2"/>
              <a:buChar char="ü"/>
              <a:defRPr sz="12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833307" y="2003310"/>
            <a:ext cx="8241567" cy="354120"/>
          </a:xfrm>
          <a:prstGeom prst="rect">
            <a:avLst/>
          </a:prstGeom>
        </p:spPr>
        <p:txBody>
          <a:bodyPr/>
          <a:lstStyle>
            <a:lvl1pPr marL="180975" indent="-163513">
              <a:buClr>
                <a:srgbClr val="463436"/>
              </a:buClr>
              <a:buFont typeface="Wingdings" charset="2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b="1">
                <a:solidFill>
                  <a:srgbClr val="1D81BD"/>
                </a:solidFill>
              </a:defRPr>
            </a:lvl2pPr>
            <a:lvl3pPr>
              <a:defRPr sz="1600" b="1" baseline="0">
                <a:solidFill>
                  <a:srgbClr val="1D81BD"/>
                </a:solidFill>
              </a:defRPr>
            </a:lvl3pPr>
            <a:lvl4pPr>
              <a:defRPr sz="1600" b="1">
                <a:solidFill>
                  <a:srgbClr val="1D81BD"/>
                </a:solidFill>
              </a:defRPr>
            </a:lvl4pPr>
            <a:lvl5pPr>
              <a:defRPr sz="1600" b="1">
                <a:solidFill>
                  <a:srgbClr val="1D81BD"/>
                </a:solidFill>
              </a:defRPr>
            </a:lvl5pPr>
            <a:lvl6pPr>
              <a:defRPr sz="1600" b="1">
                <a:solidFill>
                  <a:srgbClr val="1D81BD"/>
                </a:solidFill>
              </a:defRPr>
            </a:lvl6pPr>
            <a:lvl7pPr>
              <a:defRPr sz="1600" b="1">
                <a:solidFill>
                  <a:srgbClr val="1D81BD"/>
                </a:solidFill>
              </a:defRPr>
            </a:lvl7pPr>
            <a:lvl8pPr>
              <a:defRPr sz="1600" b="1">
                <a:solidFill>
                  <a:srgbClr val="1D81BD"/>
                </a:solidFill>
              </a:defRPr>
            </a:lvl8pPr>
            <a:lvl9pPr>
              <a:buNone/>
              <a:defRPr sz="1600" b="1">
                <a:solidFill>
                  <a:srgbClr val="1D81BD"/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037384" cy="7920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4AF200E0-C85F-3A4A-848A-643236141CAE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60218F76-A6DA-4797-AE6F-3A1BC664F282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0479806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8331200" y="6616700"/>
            <a:ext cx="184150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fr-FR" sz="1800" dirty="0">
              <a:ea typeface="+mn-ea"/>
              <a:cs typeface="+mn-cs"/>
            </a:endParaRPr>
          </a:p>
        </p:txBody>
      </p:sp>
      <p:pic>
        <p:nvPicPr>
          <p:cNvPr id="5" name="Imag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2025" y="3276600"/>
            <a:ext cx="72199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2286000" y="685800"/>
            <a:ext cx="4585492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0" y="6477000"/>
            <a:ext cx="9144000" cy="381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8584031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8D2978E-2CE7-D545-A572-DBCEF7B3B145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C36E08A9-7B66-490D-A76C-2F768EE1CE5E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821388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AF95D1-4956-214C-8F5D-A8F941D52117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19135237-E8D9-4890-9612-1C24A2FA43A0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539057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CA3F5F-D417-FE45-BA36-FD72AD16D5AE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E1AC0B1-31F5-4DD5-B06C-E055F2486436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974419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17" Type="http://schemas.openxmlformats.org/officeDocument/2006/relationships/tags" Target="../tags/tag5.xml"/><Relationship Id="rId25" Type="http://schemas.openxmlformats.org/officeDocument/2006/relationships/image" Target="../media/image6.emf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10" Type="http://schemas.openxmlformats.org/officeDocument/2006/relationships/slideLayout" Target="../slideLayouts/slideLayout16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ags" Target="../tags/tag2.xml"/><Relationship Id="rId22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554486" y="6306797"/>
            <a:ext cx="1512604" cy="418744"/>
          </a:xfrm>
          <a:prstGeom prst="rect">
            <a:avLst/>
          </a:prstGeom>
          <a:solidFill>
            <a:srgbClr val="F18B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 smtClean="0"/>
              <a:t>L'HERBLAISIENNE –</a:t>
            </a:r>
          </a:p>
          <a:p>
            <a:pPr algn="ctr">
              <a:defRPr/>
            </a:pPr>
            <a:r>
              <a:rPr lang="fr-FR" sz="800" dirty="0" smtClean="0"/>
              <a:t>43 rue du Général de Gaulle</a:t>
            </a:r>
          </a:p>
          <a:p>
            <a:pPr algn="ctr">
              <a:defRPr/>
            </a:pPr>
            <a:r>
              <a:rPr lang="fr-FR" sz="800" dirty="0" smtClean="0"/>
              <a:t> 95220 HERBLAY</a:t>
            </a:r>
            <a:endParaRPr lang="fr-FR" sz="800" dirty="0"/>
          </a:p>
        </p:txBody>
      </p:sp>
      <p:sp>
        <p:nvSpPr>
          <p:cNvPr id="3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938965" y="6453188"/>
            <a:ext cx="482600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cs typeface="Arial" charset="0"/>
              </a:defRPr>
            </a:lvl1pPr>
          </a:lstStyle>
          <a:p>
            <a:fld id="{F8A22C28-2E41-8349-AB9D-CE900EF092C8}" type="slidenum">
              <a:rPr lang="fr-FR"/>
              <a:pPr/>
              <a:t>‹N°›</a:t>
            </a:fld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85738" y="6524625"/>
            <a:ext cx="847725" cy="222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DC4C2F6-4744-4488-8FC2-4C25EAB392D1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1042988" y="6524625"/>
            <a:ext cx="5400675" cy="2174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Assemblée Générale Ordinaire - 16 11 2017</a:t>
            </a: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</p:sldLayoutIdLst>
  <p:timing>
    <p:tnLst>
      <p:par>
        <p:cTn id="1" dur="indefinite" restart="never" nodeType="tmRoot"/>
      </p:par>
    </p:tnLst>
  </p:timing>
  <p:hf hd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28" name="Object 1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999" name="think-cell Slide" r:id="rId24" imgW="360" imgH="360" progId="">
              <p:embed/>
            </p:oleObj>
          </a:graphicData>
        </a:graphic>
      </p:graphicFrame>
      <p:sp>
        <p:nvSpPr>
          <p:cNvPr id="34826" name="Rectangle 10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116013" y="1924050"/>
            <a:ext cx="7375525" cy="323373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  <a:br>
              <a:rPr lang="fr-FR"/>
            </a:br>
            <a:r>
              <a:rPr lang="fr-FR"/>
              <a:t/>
            </a:r>
            <a:br>
              <a:rPr lang="fr-FR"/>
            </a:br>
            <a:endParaRPr lang="fr-FR"/>
          </a:p>
        </p:txBody>
      </p:sp>
      <p:sp>
        <p:nvSpPr>
          <p:cNvPr id="2" name="Rectangle 1"/>
          <p:cNvSpPr/>
          <p:nvPr>
            <p:custDataLst>
              <p:tags r:id="rId16"/>
            </p:custDataLst>
          </p:nvPr>
        </p:nvSpPr>
        <p:spPr>
          <a:xfrm>
            <a:off x="0" y="6381750"/>
            <a:ext cx="9144000" cy="476250"/>
          </a:xfrm>
          <a:prstGeom prst="rect">
            <a:avLst/>
          </a:prstGeom>
          <a:solidFill>
            <a:srgbClr val="F18B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800"/>
              <a:t> </a:t>
            </a:r>
          </a:p>
        </p:txBody>
      </p:sp>
      <p:pic>
        <p:nvPicPr>
          <p:cNvPr id="34819" name="Image 5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31175" y="6524625"/>
            <a:ext cx="7620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0" name="Image 6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04025" y="549275"/>
            <a:ext cx="1649413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1" name="Image 7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04025" y="0"/>
            <a:ext cx="1649413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Espace réservé du numéro de diapositive 5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7451725" y="6453188"/>
            <a:ext cx="482600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cs typeface="+mn-cs"/>
              </a:defRPr>
            </a:lvl1pPr>
          </a:lstStyle>
          <a:p>
            <a:fld id="{41556B01-E030-8F4C-8743-8C9CBC617DA7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>
          <a:xfrm>
            <a:off x="185738" y="6524625"/>
            <a:ext cx="847725" cy="222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A9D0F6A0-4F59-4D68-AD96-758C0746EA59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>
          <a:xfrm>
            <a:off x="1042988" y="6524625"/>
            <a:ext cx="5400675" cy="2174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Assemblée Générale Ordinaire - 16 11 2017</a:t>
            </a:r>
            <a:endParaRPr lang="fr-FR"/>
          </a:p>
        </p:txBody>
      </p:sp>
      <p:sp>
        <p:nvSpPr>
          <p:cNvPr id="34827" name="Rectangle 11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7264400" y="307975"/>
            <a:ext cx="7302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#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iming>
    <p:tnLst>
      <p:par>
        <p:cTn id="1" dur="indefinite" restart="never" nodeType="tmRoot"/>
      </p:par>
    </p:tnLst>
  </p:timing>
  <p:hf hdr="0"/>
  <p:txStyles>
    <p:titleStyle>
      <a:lvl1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+mj-lt"/>
          <a:ea typeface="+mj-ea"/>
          <a:cs typeface="+mj-cs"/>
        </a:defRPr>
      </a:lvl1pPr>
      <a:lvl2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2pPr>
      <a:lvl3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3pPr>
      <a:lvl4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4pPr>
      <a:lvl5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algn="ctr" rtl="0" fontAlgn="base">
        <a:spcBef>
          <a:spcPct val="20000"/>
        </a:spcBef>
        <a:spcAft>
          <a:spcPct val="0"/>
        </a:spcAft>
        <a:buFont typeface="Arial" charset="0"/>
        <a:defRPr sz="3200" b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defRPr sz="2800">
          <a:solidFill>
            <a:schemeClr val="tx1"/>
          </a:solidFill>
          <a:latin typeface="Calibri" charset="0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Calibri" charset="0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Feuille_Microsoft_Office_Excel_97-20031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microsoft.com/office/2007/relationships/diagramDrawing" Target="../diagrams/drawing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Feuille_Microsoft_Office_Excel_97-20032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Microsoft_Office_Excel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Feuille_Microsoft_Office_Excel_97-20033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Feuille_Microsoft_Office_Excel_97-20034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7.pn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755650" y="1628775"/>
            <a:ext cx="7772400" cy="1000125"/>
          </a:xfrm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cap="none" dirty="0" smtClean="0">
                <a:latin typeface="Arial" charset="0"/>
                <a:cs typeface="Arial" charset="0"/>
              </a:rPr>
              <a:t>Assemblée </a:t>
            </a:r>
            <a:br>
              <a:rPr lang="fr-FR" cap="none" dirty="0" smtClean="0">
                <a:latin typeface="Arial" charset="0"/>
                <a:cs typeface="Arial" charset="0"/>
              </a:rPr>
            </a:br>
            <a:r>
              <a:rPr lang="fr-FR" cap="none" dirty="0" smtClean="0">
                <a:latin typeface="Arial" charset="0"/>
                <a:cs typeface="Arial" charset="0"/>
              </a:rPr>
              <a:t>Générale Ordinaire </a:t>
            </a:r>
            <a:endParaRPr lang="fr-FR" cap="none" dirty="0">
              <a:latin typeface="Arial" charset="0"/>
              <a:cs typeface="Arial" charset="0"/>
            </a:endParaRPr>
          </a:p>
        </p:txBody>
      </p:sp>
      <p:sp>
        <p:nvSpPr>
          <p:cNvPr id="10243" name="Sous-titre 3"/>
          <p:cNvSpPr>
            <a:spLocks noGrp="1"/>
          </p:cNvSpPr>
          <p:nvPr>
            <p:ph type="subTitle" idx="1"/>
          </p:nvPr>
        </p:nvSpPr>
        <p:spPr bwMode="auto">
          <a:xfrm>
            <a:off x="4727274" y="2781300"/>
            <a:ext cx="3800775" cy="107156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dirty="0" smtClean="0">
                <a:latin typeface="Arial" charset="0"/>
                <a:cs typeface="Arial" charset="0"/>
              </a:rPr>
              <a:t>16 Novembre 2017</a:t>
            </a:r>
          </a:p>
          <a:p>
            <a:pPr algn="ctr"/>
            <a:r>
              <a:rPr lang="fr-FR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Bienvenue</a:t>
            </a:r>
          </a:p>
        </p:txBody>
      </p:sp>
      <p:sp>
        <p:nvSpPr>
          <p:cNvPr id="7" name="Rectangle 6"/>
          <p:cNvSpPr/>
          <p:nvPr/>
        </p:nvSpPr>
        <p:spPr>
          <a:xfrm>
            <a:off x="2544792" y="3838755"/>
            <a:ext cx="45719" cy="457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1035170" y="3579962"/>
            <a:ext cx="3148641" cy="3709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7106" name="Picture 2" descr="https://www.lherblaisienne.fr/media/uploaded/sites/10021/actualite/59efa9fd5ef60_AGnovembre2017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" y="0"/>
            <a:ext cx="4848820" cy="6858000"/>
          </a:xfrm>
          <a:prstGeom prst="rect">
            <a:avLst/>
          </a:prstGeom>
          <a:noFill/>
        </p:spPr>
      </p:pic>
      <p:pic>
        <p:nvPicPr>
          <p:cNvPr id="47108" name="Picture 4" descr="https://www.lherblaisienne.fr/media/uploaded/sites/10021/partenaire/56be3c055f114_logofondblancffba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46752" y="3860049"/>
            <a:ext cx="1690477" cy="2173470"/>
          </a:xfrm>
          <a:prstGeom prst="rect">
            <a:avLst/>
          </a:prstGeom>
          <a:noFill/>
        </p:spPr>
      </p:pic>
      <p:pic>
        <p:nvPicPr>
          <p:cNvPr id="47110" name="Picture 6" descr="Fédération Française de Gymnastique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849673" y="4174757"/>
            <a:ext cx="1759489" cy="11143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696005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404162" y="1257287"/>
            <a:ext cx="8424936" cy="5005489"/>
          </a:xfrm>
        </p:spPr>
        <p:txBody>
          <a:bodyPr/>
          <a:lstStyle/>
          <a:p>
            <a:pPr>
              <a:buNone/>
            </a:pPr>
            <a:r>
              <a:rPr lang="fr-FR" dirty="0" smtClean="0"/>
              <a:t>2015-2016</a:t>
            </a:r>
          </a:p>
          <a:p>
            <a:pPr>
              <a:buNone/>
            </a:pPr>
            <a:endParaRPr lang="fr-FR" dirty="0" smtClean="0"/>
          </a:p>
          <a:p>
            <a:pPr>
              <a:buNone/>
            </a:pPr>
            <a:endParaRPr lang="fr-FR" dirty="0" smtClean="0"/>
          </a:p>
          <a:p>
            <a:pPr>
              <a:buNone/>
            </a:pPr>
            <a:endParaRPr lang="fr-FR" dirty="0" smtClean="0"/>
          </a:p>
          <a:p>
            <a:pPr>
              <a:buNone/>
            </a:pPr>
            <a:endParaRPr lang="fr-FR" dirty="0" smtClean="0"/>
          </a:p>
          <a:p>
            <a:pPr>
              <a:buNone/>
            </a:pPr>
            <a:endParaRPr lang="fr-FR" dirty="0" smtClean="0"/>
          </a:p>
          <a:p>
            <a:pPr>
              <a:buNone/>
            </a:pPr>
            <a:r>
              <a:rPr lang="fr-FR" dirty="0" smtClean="0"/>
              <a:t>2016 -2017</a:t>
            </a:r>
          </a:p>
          <a:p>
            <a:pPr>
              <a:buNone/>
            </a:pPr>
            <a:endParaRPr lang="fr-FR" dirty="0" smtClean="0"/>
          </a:p>
          <a:p>
            <a:pPr>
              <a:buNone/>
            </a:pPr>
            <a:endParaRPr lang="fr-FR" dirty="0" smtClean="0"/>
          </a:p>
          <a:p>
            <a:pPr>
              <a:buNone/>
            </a:pPr>
            <a:endParaRPr lang="fr-FR" dirty="0" smtClean="0"/>
          </a:p>
          <a:p>
            <a:pPr>
              <a:buNone/>
            </a:pPr>
            <a:endParaRPr lang="fr-FR" dirty="0" smtClean="0"/>
          </a:p>
          <a:p>
            <a:pPr>
              <a:buNone/>
            </a:pPr>
            <a:endParaRPr lang="fr-FR" dirty="0" smtClean="0"/>
          </a:p>
          <a:p>
            <a:pPr>
              <a:buNone/>
            </a:pPr>
            <a:r>
              <a:rPr lang="fr-FR" dirty="0" smtClean="0"/>
              <a:t>2017-2018 (au 10/11)</a:t>
            </a:r>
          </a:p>
          <a:p>
            <a:pPr>
              <a:buNone/>
            </a:pP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nalyse plus fine de l’évolution des adhérents du BADMINT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pic>
        <p:nvPicPr>
          <p:cNvPr id="9933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9382" y="1857195"/>
            <a:ext cx="238125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9332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952750" y="1800584"/>
            <a:ext cx="6191250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9333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0371" y="3711874"/>
            <a:ext cx="238125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9334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952750" y="3405097"/>
            <a:ext cx="6191250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9335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7239" y="5557927"/>
            <a:ext cx="238125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9336" name="Picture 8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952750" y="5216645"/>
            <a:ext cx="6191250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fr-FR" dirty="0" smtClean="0"/>
              <a:t>Une PRIORITE SUR LES JEUNES :</a:t>
            </a:r>
            <a:br>
              <a:rPr lang="fr-FR" dirty="0" smtClean="0"/>
            </a:br>
            <a:r>
              <a:rPr lang="fr-FR" dirty="0" smtClean="0"/>
              <a:t> </a:t>
            </a:r>
            <a:r>
              <a:rPr lang="fr-FR" dirty="0" smtClean="0">
                <a:solidFill>
                  <a:srgbClr val="FF0000"/>
                </a:solidFill>
                <a:latin typeface="Comic Sans MS" pitchFamily="66" charset="0"/>
              </a:rPr>
              <a:t>Nous avons gagné la 3</a:t>
            </a:r>
            <a:r>
              <a:rPr lang="fr-FR" baseline="30000" dirty="0" smtClean="0">
                <a:solidFill>
                  <a:srgbClr val="FF0000"/>
                </a:solidFill>
                <a:latin typeface="Comic Sans MS" pitchFamily="66" charset="0"/>
              </a:rPr>
              <a:t>ème</a:t>
            </a:r>
            <a:r>
              <a:rPr lang="fr-FR" dirty="0" smtClean="0">
                <a:solidFill>
                  <a:srgbClr val="FF0000"/>
                </a:solidFill>
                <a:latin typeface="Comic Sans MS" pitchFamily="66" charset="0"/>
              </a:rPr>
              <a:t> étoile dans la Labellisation 2017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pic>
        <p:nvPicPr>
          <p:cNvPr id="7" name="Espace réservé du contenu 6" descr="EFB_3Etoiles.pn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8596" y="1495677"/>
            <a:ext cx="3539555" cy="4719406"/>
          </a:xfrm>
        </p:spPr>
      </p:pic>
      <p:sp>
        <p:nvSpPr>
          <p:cNvPr id="8" name="ZoneTexte 7"/>
          <p:cNvSpPr txBox="1"/>
          <p:nvPr/>
        </p:nvSpPr>
        <p:spPr>
          <a:xfrm>
            <a:off x="590103" y="3845213"/>
            <a:ext cx="308475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>
                <a:solidFill>
                  <a:schemeClr val="tx2"/>
                </a:solidFill>
              </a:rPr>
              <a:t>« </a:t>
            </a:r>
            <a:r>
              <a:rPr lang="fr-FR" sz="2000" b="1" i="1" dirty="0" smtClean="0">
                <a:solidFill>
                  <a:schemeClr val="tx2"/>
                </a:solidFill>
              </a:rPr>
              <a:t>Club qui structure son école de jeunes en s’appuyant prioritairement sur le Dispositif Jeunes ».</a:t>
            </a:r>
            <a:endParaRPr lang="fr-FR" sz="2000" b="1" i="1" dirty="0">
              <a:solidFill>
                <a:schemeClr val="tx2"/>
              </a:solidFill>
            </a:endParaRPr>
          </a:p>
        </p:txBody>
      </p:sp>
      <p:pic>
        <p:nvPicPr>
          <p:cNvPr id="9" name="Espace réservé du contenu 6" descr="EFB_3Etoile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7886" y="1569897"/>
            <a:ext cx="1468731" cy="1958308"/>
          </a:xfrm>
          <a:prstGeom prst="rect">
            <a:avLst/>
          </a:prstGeom>
        </p:spPr>
      </p:pic>
      <p:graphicFrame>
        <p:nvGraphicFramePr>
          <p:cNvPr id="12" name="Tableau 11"/>
          <p:cNvGraphicFramePr>
            <a:graphicFrameLocks noGrp="1"/>
          </p:cNvGraphicFramePr>
          <p:nvPr/>
        </p:nvGraphicFramePr>
        <p:xfrm>
          <a:off x="4468482" y="2915249"/>
          <a:ext cx="4359216" cy="248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8688"/>
                <a:gridCol w="3220528"/>
              </a:tblGrid>
              <a:tr h="129876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5 Etoil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Ermont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4 Etoil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Ezanville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3 Etoil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Cergy, Herblay, Jouy Le Moutier, Eragny,</a:t>
                      </a:r>
                      <a:r>
                        <a:rPr lang="fr-FR" baseline="0" dirty="0" smtClean="0"/>
                        <a:t> Pontoise, Goussainville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2 Etoil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3 clubs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1 Etoil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3 clubs</a:t>
                      </a:r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ZoneTexte 12"/>
          <p:cNvSpPr txBox="1"/>
          <p:nvPr/>
        </p:nvSpPr>
        <p:spPr>
          <a:xfrm>
            <a:off x="5124511" y="1496073"/>
            <a:ext cx="30847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>
                <a:solidFill>
                  <a:schemeClr val="tx2"/>
                </a:solidFill>
              </a:rPr>
              <a:t>Sur les 27 clubs du Val d’Oise : 14 clubs Etoilés</a:t>
            </a:r>
            <a:endParaRPr lang="fr-FR" sz="2000" b="1" i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endParaRPr lang="fr-FR" dirty="0" smtClean="0"/>
          </a:p>
          <a:p>
            <a:pPr lvl="0"/>
            <a:endParaRPr lang="fr-FR" dirty="0" smtClean="0"/>
          </a:p>
          <a:p>
            <a:pPr lvl="0"/>
            <a:endParaRPr lang="fr-FR" sz="1800" dirty="0" smtClean="0"/>
          </a:p>
          <a:p>
            <a:pPr lvl="0"/>
            <a:r>
              <a:rPr lang="fr-FR" sz="1800" dirty="0" smtClean="0"/>
              <a:t>Finale de zone Ile de France par équipe le 13 et 14 mai 2017 à PUTEAUX </a:t>
            </a:r>
            <a:endParaRPr lang="fr-FR" dirty="0" smtClean="0"/>
          </a:p>
          <a:p>
            <a:pPr lvl="1">
              <a:buNone/>
            </a:pPr>
            <a:r>
              <a:rPr lang="fr-FR" dirty="0" smtClean="0"/>
              <a:t> </a:t>
            </a:r>
          </a:p>
          <a:p>
            <a:pPr lvl="1" algn="ctr">
              <a:buFont typeface="Wingdings" pitchFamily="2" charset="2"/>
              <a:buChar char="§"/>
            </a:pPr>
            <a:r>
              <a:rPr lang="fr-FR" sz="1800" dirty="0" smtClean="0"/>
              <a:t>Equipe 10-13 ans : 8</a:t>
            </a:r>
            <a:r>
              <a:rPr lang="fr-FR" sz="1800" baseline="30000" dirty="0" smtClean="0"/>
              <a:t>ème</a:t>
            </a:r>
            <a:endParaRPr lang="fr-FR" sz="1800" dirty="0" smtClean="0"/>
          </a:p>
          <a:p>
            <a:pPr lvl="1" algn="ctr">
              <a:buFont typeface="Wingdings" pitchFamily="2" charset="2"/>
              <a:buChar char="§"/>
            </a:pPr>
            <a:r>
              <a:rPr lang="fr-FR" sz="1800" dirty="0" smtClean="0"/>
              <a:t>Equipe 10 ans et + : 2 </a:t>
            </a:r>
            <a:r>
              <a:rPr lang="fr-FR" sz="1800" dirty="0" err="1" smtClean="0"/>
              <a:t>ème</a:t>
            </a:r>
            <a:endParaRPr lang="fr-FR" sz="18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SULTATS 2016 – 2017 de gymnastique </a:t>
            </a:r>
            <a:br>
              <a:rPr lang="fr-FR" dirty="0" smtClean="0"/>
            </a:br>
            <a:r>
              <a:rPr lang="fr-FR" dirty="0" smtClean="0"/>
              <a:t>masculin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6AF261B-E250-4B36-B10B-AF89433F06DA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pic>
        <p:nvPicPr>
          <p:cNvPr id="79876" name="Picture 4" descr="Couvertur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14171" y="727523"/>
            <a:ext cx="2857500" cy="18097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95536" y="1179651"/>
            <a:ext cx="8424936" cy="3802744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SULTATS 2016 – 2017 de BADMINT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417133E-36E1-4A9E-B2B2-31FED714BF7F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>
          <a:xfrm>
            <a:off x="594414" y="6395229"/>
            <a:ext cx="5400675" cy="217488"/>
          </a:xfrm>
        </p:spPr>
        <p:txBody>
          <a:bodyPr/>
          <a:lstStyle/>
          <a:p>
            <a:r>
              <a:rPr lang="fr-FR" smtClean="0"/>
              <a:t>Assemblée Générale Ordinaire - 16 11 2017</a:t>
            </a:r>
            <a:endParaRPr lang="fr-FR" dirty="0"/>
          </a:p>
        </p:txBody>
      </p:sp>
      <p:pic>
        <p:nvPicPr>
          <p:cNvPr id="78849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17917" y="1130300"/>
            <a:ext cx="7211683" cy="509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95536" y="1179651"/>
            <a:ext cx="8424936" cy="3802744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dirty="0" smtClean="0"/>
              <a:t> </a:t>
            </a:r>
            <a:r>
              <a:rPr lang="fr-FR" dirty="0" smtClean="0">
                <a:solidFill>
                  <a:schemeClr val="accent2"/>
                </a:solidFill>
              </a:rPr>
              <a:t>3 équipes SENIOR - 1 Equipe VETERAN – </a:t>
            </a:r>
            <a:br>
              <a:rPr lang="fr-FR" dirty="0" smtClean="0">
                <a:solidFill>
                  <a:schemeClr val="accent2"/>
                </a:solidFill>
              </a:rPr>
            </a:br>
            <a:r>
              <a:rPr lang="fr-FR" dirty="0" smtClean="0">
                <a:solidFill>
                  <a:schemeClr val="accent2"/>
                </a:solidFill>
              </a:rPr>
              <a:t>2 équipes en coupe du val d’</a:t>
            </a:r>
            <a:r>
              <a:rPr lang="fr-FR" dirty="0" err="1" smtClean="0">
                <a:solidFill>
                  <a:schemeClr val="accent2"/>
                </a:solidFill>
              </a:rPr>
              <a:t>oise</a:t>
            </a:r>
            <a:endParaRPr lang="fr-FR" dirty="0">
              <a:solidFill>
                <a:schemeClr val="accent2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417133E-36E1-4A9E-B2B2-31FED714BF7F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>
          <a:xfrm>
            <a:off x="594414" y="6395229"/>
            <a:ext cx="5400675" cy="217488"/>
          </a:xfrm>
        </p:spPr>
        <p:txBody>
          <a:bodyPr/>
          <a:lstStyle/>
          <a:p>
            <a:r>
              <a:rPr lang="fr-FR" smtClean="0"/>
              <a:t>Assemblée Générale Ordinaire - 16 11 2017</a:t>
            </a:r>
            <a:endParaRPr lang="fr-FR" dirty="0"/>
          </a:p>
        </p:txBody>
      </p:sp>
      <p:pic>
        <p:nvPicPr>
          <p:cNvPr id="8" name="Image 7" descr="Equipe 1 - 2016 - 2017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88189" y="1207698"/>
            <a:ext cx="3582837" cy="2015346"/>
          </a:xfrm>
          <a:prstGeom prst="rect">
            <a:avLst/>
          </a:prstGeom>
        </p:spPr>
      </p:pic>
      <p:pic>
        <p:nvPicPr>
          <p:cNvPr id="9" name="Image 8" descr="Equipe 2 - 2016-2017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865298" y="1155940"/>
            <a:ext cx="3674853" cy="2067105"/>
          </a:xfrm>
          <a:prstGeom prst="rect">
            <a:avLst/>
          </a:prstGeom>
        </p:spPr>
      </p:pic>
      <p:pic>
        <p:nvPicPr>
          <p:cNvPr id="10" name="Image 9" descr="Equipe 3 2016-2017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5442" y="3623095"/>
            <a:ext cx="3644180" cy="2415396"/>
          </a:xfrm>
          <a:prstGeom prst="rect">
            <a:avLst/>
          </a:prstGeom>
        </p:spPr>
      </p:pic>
      <p:pic>
        <p:nvPicPr>
          <p:cNvPr id="11" name="Image 10" descr="equipe vet 2016-2017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08432" y="3597216"/>
            <a:ext cx="3648972" cy="244558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95536" y="1102013"/>
            <a:ext cx="8424936" cy="3802744"/>
          </a:xfrm>
        </p:spPr>
        <p:txBody>
          <a:bodyPr/>
          <a:lstStyle/>
          <a:p>
            <a:r>
              <a:rPr lang="fr-FR" dirty="0" smtClean="0"/>
              <a:t>5 équipes engagées pour la 1ere fois en </a:t>
            </a:r>
            <a:r>
              <a:rPr lang="fr-FR" dirty="0" smtClean="0"/>
              <a:t>Interclubs </a:t>
            </a:r>
            <a:r>
              <a:rPr lang="fr-FR" dirty="0" smtClean="0"/>
              <a:t>Jeunes :</a:t>
            </a:r>
          </a:p>
          <a:p>
            <a:pPr lvl="1"/>
            <a:r>
              <a:rPr lang="fr-FR" dirty="0" smtClean="0"/>
              <a:t>1 équipe Benjamines</a:t>
            </a:r>
          </a:p>
          <a:p>
            <a:pPr lvl="1"/>
            <a:r>
              <a:rPr lang="fr-FR" dirty="0" smtClean="0"/>
              <a:t>1 équipe Minime Garçons</a:t>
            </a:r>
          </a:p>
          <a:p>
            <a:pPr lvl="1"/>
            <a:r>
              <a:rPr lang="fr-FR" dirty="0" smtClean="0"/>
              <a:t>1 équipe Cadettes</a:t>
            </a:r>
          </a:p>
          <a:p>
            <a:pPr lvl="1"/>
            <a:r>
              <a:rPr lang="fr-FR" dirty="0" smtClean="0"/>
              <a:t>2 équipes </a:t>
            </a:r>
            <a:r>
              <a:rPr lang="fr-FR" dirty="0" smtClean="0"/>
              <a:t>Cadets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endParaRPr lang="fr-FR" dirty="0" smtClean="0"/>
          </a:p>
          <a:p>
            <a:r>
              <a:rPr lang="fr-FR" dirty="0" smtClean="0"/>
              <a:t>Aux Championnats du Val d'Oise : </a:t>
            </a:r>
          </a:p>
          <a:p>
            <a:pPr>
              <a:buFont typeface="Arial" pitchFamily="34" charset="0"/>
              <a:buChar char="•"/>
            </a:pP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dirty="0" smtClean="0">
                <a:solidFill>
                  <a:schemeClr val="accent2"/>
                </a:solidFill>
              </a:rPr>
              <a:t>Jeune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pic>
        <p:nvPicPr>
          <p:cNvPr id="80897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6533" y="4318419"/>
            <a:ext cx="2857500" cy="180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899" name="Picture 3" descr="Couvertur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4820" y="4307486"/>
            <a:ext cx="2857500" cy="1809751"/>
          </a:xfrm>
          <a:prstGeom prst="rect">
            <a:avLst/>
          </a:prstGeom>
          <a:noFill/>
        </p:spPr>
      </p:pic>
      <p:pic>
        <p:nvPicPr>
          <p:cNvPr id="8090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27990" y="4309792"/>
            <a:ext cx="2857500" cy="180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Image 10" descr="Benjamines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213193" y="1475116"/>
            <a:ext cx="1221447" cy="2171461"/>
          </a:xfrm>
          <a:prstGeom prst="rect">
            <a:avLst/>
          </a:prstGeom>
        </p:spPr>
      </p:pic>
      <p:pic>
        <p:nvPicPr>
          <p:cNvPr id="12" name="Image 11" descr="Benjamines2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67555" y="1693474"/>
            <a:ext cx="3062376" cy="1722586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 smtClean="0"/>
              <a:t>QUESTIONS SUR LE RAPPORT </a:t>
            </a:r>
          </a:p>
          <a:p>
            <a:pPr>
              <a:buNone/>
            </a:pPr>
            <a:r>
              <a:rPr lang="fr-FR" sz="2800" dirty="0" smtClean="0"/>
              <a:t>             MORAL DU PRESIDENT ?</a:t>
            </a:r>
          </a:p>
          <a:p>
            <a:endParaRPr lang="fr-FR" sz="2800" dirty="0" smtClean="0"/>
          </a:p>
          <a:p>
            <a:endParaRPr lang="fr-FR" sz="2800" dirty="0" smtClean="0"/>
          </a:p>
          <a:p>
            <a:endParaRPr lang="fr-FR" sz="2800" dirty="0" smtClean="0"/>
          </a:p>
          <a:p>
            <a:endParaRPr lang="fr-FR" sz="2800" dirty="0" smtClean="0"/>
          </a:p>
          <a:p>
            <a:r>
              <a:rPr lang="fr-FR" sz="2800" dirty="0" smtClean="0"/>
              <a:t>APPROBATION 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YNTHESE 2016 - 2017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43DA07-AC1A-402B-9760-FD886FBEF874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90808" y="2721632"/>
            <a:ext cx="1983117" cy="1983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15/11/2017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3217060048"/>
              </p:ext>
            </p:extLst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007033" y="1946812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611169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DEPENSES 2016 -2017 </a:t>
            </a:r>
            <a:br>
              <a:rPr lang="fr-FR" dirty="0" smtClean="0"/>
            </a:br>
            <a:r>
              <a:rPr lang="fr-FR" dirty="0" smtClean="0"/>
              <a:t>          Budget : </a:t>
            </a:r>
            <a:r>
              <a:rPr lang="fr-FR" dirty="0" smtClean="0">
                <a:solidFill>
                  <a:srgbClr val="FF0000"/>
                </a:solidFill>
              </a:rPr>
              <a:t>69 230€  </a:t>
            </a:r>
            <a:r>
              <a:rPr lang="fr-FR" dirty="0" smtClean="0">
                <a:solidFill>
                  <a:schemeClr val="tx1"/>
                </a:solidFill>
              </a:rPr>
              <a:t>REALISEES : </a:t>
            </a:r>
            <a:r>
              <a:rPr lang="fr-FR" dirty="0" smtClean="0">
                <a:solidFill>
                  <a:srgbClr val="FF0000"/>
                </a:solidFill>
              </a:rPr>
              <a:t>75 242€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116425F-5A08-4F77-A7B6-7F58191C52E6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graphicFrame>
        <p:nvGraphicFramePr>
          <p:cNvPr id="48131" name="Object 3"/>
          <p:cNvGraphicFramePr>
            <a:graphicFrameLocks noChangeAspect="1"/>
          </p:cNvGraphicFramePr>
          <p:nvPr/>
        </p:nvGraphicFramePr>
        <p:xfrm>
          <a:off x="1327599" y="1294861"/>
          <a:ext cx="6937375" cy="4095750"/>
        </p:xfrm>
        <a:graphic>
          <a:graphicData uri="http://schemas.openxmlformats.org/presentationml/2006/ole">
            <p:oleObj spid="_x0000_s48131" name="Worksheet" r:id="rId3" imgW="6937346" imgH="409636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sp>
        <p:nvSpPr>
          <p:cNvPr id="7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DEPENSES 2016 -2017 </a:t>
            </a:r>
            <a:br>
              <a:rPr lang="fr-FR" dirty="0" smtClean="0"/>
            </a:br>
            <a:r>
              <a:rPr lang="fr-FR" dirty="0" smtClean="0"/>
              <a:t>          Budget : </a:t>
            </a:r>
            <a:r>
              <a:rPr lang="fr-FR" dirty="0" smtClean="0">
                <a:solidFill>
                  <a:srgbClr val="FF0000"/>
                </a:solidFill>
              </a:rPr>
              <a:t>69 230€  </a:t>
            </a:r>
            <a:r>
              <a:rPr lang="fr-FR" dirty="0" smtClean="0">
                <a:solidFill>
                  <a:schemeClr val="tx1"/>
                </a:solidFill>
              </a:rPr>
              <a:t>REALISEES : </a:t>
            </a:r>
            <a:r>
              <a:rPr lang="fr-FR" dirty="0" smtClean="0">
                <a:solidFill>
                  <a:srgbClr val="FF0000"/>
                </a:solidFill>
              </a:rPr>
              <a:t>75 242€</a:t>
            </a:r>
            <a:endParaRPr lang="fr-FR" dirty="0">
              <a:solidFill>
                <a:schemeClr val="tx1"/>
              </a:solidFill>
            </a:endParaRPr>
          </a:p>
        </p:txBody>
      </p:sp>
      <p:pic>
        <p:nvPicPr>
          <p:cNvPr id="49156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2238" y="1227138"/>
            <a:ext cx="8899525" cy="440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15/11/2017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3217060048"/>
              </p:ext>
            </p:extLst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575712" y="1282578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611169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RECETTES 2016 -2017 </a:t>
            </a:r>
            <a:br>
              <a:rPr lang="fr-FR" dirty="0" smtClean="0"/>
            </a:br>
            <a:r>
              <a:rPr lang="fr-FR" dirty="0" smtClean="0"/>
              <a:t>          Budget : </a:t>
            </a:r>
            <a:r>
              <a:rPr lang="fr-FR" dirty="0" smtClean="0">
                <a:solidFill>
                  <a:srgbClr val="FF0000"/>
                </a:solidFill>
              </a:rPr>
              <a:t>69 230€  </a:t>
            </a:r>
            <a:r>
              <a:rPr lang="fr-FR" dirty="0" smtClean="0">
                <a:solidFill>
                  <a:schemeClr val="tx1"/>
                </a:solidFill>
              </a:rPr>
              <a:t>REALISEES : </a:t>
            </a:r>
            <a:r>
              <a:rPr lang="fr-FR" dirty="0" smtClean="0">
                <a:solidFill>
                  <a:srgbClr val="FF0000"/>
                </a:solidFill>
              </a:rPr>
              <a:t>74 141€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graphicFrame>
        <p:nvGraphicFramePr>
          <p:cNvPr id="51204" name="Object 4"/>
          <p:cNvGraphicFramePr>
            <a:graphicFrameLocks noChangeAspect="1"/>
          </p:cNvGraphicFramePr>
          <p:nvPr/>
        </p:nvGraphicFramePr>
        <p:xfrm>
          <a:off x="697871" y="1369414"/>
          <a:ext cx="8094284" cy="4462043"/>
        </p:xfrm>
        <a:graphic>
          <a:graphicData uri="http://schemas.openxmlformats.org/presentationml/2006/ole">
            <p:oleObj spid="_x0000_s51204" name="Worksheet" r:id="rId3" imgW="6937346" imgH="3823750" progId="Excel.Sheet.8">
              <p:embed/>
            </p:oleObj>
          </a:graphicData>
        </a:graphic>
      </p:graphicFrame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RECETTES 2016 -2017 </a:t>
            </a:r>
            <a:br>
              <a:rPr lang="fr-FR" dirty="0" smtClean="0"/>
            </a:br>
            <a:r>
              <a:rPr lang="fr-FR" dirty="0" smtClean="0"/>
              <a:t>          Budget : </a:t>
            </a:r>
            <a:r>
              <a:rPr lang="fr-FR" dirty="0" smtClean="0">
                <a:solidFill>
                  <a:srgbClr val="FF0000"/>
                </a:solidFill>
              </a:rPr>
              <a:t>69 230€  </a:t>
            </a:r>
            <a:r>
              <a:rPr lang="fr-FR" dirty="0" smtClean="0">
                <a:solidFill>
                  <a:schemeClr val="tx1"/>
                </a:solidFill>
              </a:rPr>
              <a:t>REALISEES : </a:t>
            </a:r>
            <a:r>
              <a:rPr lang="fr-FR" dirty="0" smtClean="0">
                <a:solidFill>
                  <a:srgbClr val="FF0000"/>
                </a:solidFill>
              </a:rPr>
              <a:t>74 141€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1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pic>
        <p:nvPicPr>
          <p:cNvPr id="522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7586" y="1329186"/>
            <a:ext cx="8398758" cy="469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 smtClean="0"/>
              <a:t>QUESTIONS SUR LE RAPPORT </a:t>
            </a:r>
          </a:p>
          <a:p>
            <a:pPr>
              <a:buNone/>
            </a:pPr>
            <a:r>
              <a:rPr lang="fr-FR" sz="2800" dirty="0" smtClean="0"/>
              <a:t>             FINANCIER 2016 - 2017?</a:t>
            </a:r>
          </a:p>
          <a:p>
            <a:endParaRPr lang="fr-FR" sz="2800" dirty="0" smtClean="0"/>
          </a:p>
          <a:p>
            <a:endParaRPr lang="fr-FR" sz="2800" dirty="0" smtClean="0"/>
          </a:p>
          <a:p>
            <a:r>
              <a:rPr lang="fr-FR" sz="2800" dirty="0" smtClean="0"/>
              <a:t>APPROBATION DES COMPTES 2016-2017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apport financier 2016 - 2017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088FA44-73D0-4364-8C0B-E7B1C06F0A28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15/11/2017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3217060048"/>
              </p:ext>
            </p:extLst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257199" y="2662805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611169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None/>
            </a:pP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ituation des MANDAT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graphicFrame>
        <p:nvGraphicFramePr>
          <p:cNvPr id="44036" name="Object 4"/>
          <p:cNvGraphicFramePr>
            <a:graphicFrameLocks noChangeAspect="1"/>
          </p:cNvGraphicFramePr>
          <p:nvPr/>
        </p:nvGraphicFramePr>
        <p:xfrm>
          <a:off x="555811" y="1337094"/>
          <a:ext cx="8047350" cy="4192438"/>
        </p:xfrm>
        <a:graphic>
          <a:graphicData uri="http://schemas.openxmlformats.org/presentationml/2006/ole">
            <p:oleObj spid="_x0000_s44036" name="Feuille de calcul" r:id="rId3" imgW="5033731" imgH="2622751" progId="Excel.Sheet.12">
              <p:embed/>
            </p:oleObj>
          </a:graphicData>
        </a:graphic>
      </p:graphicFrame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r>
              <a:rPr lang="fr-FR" dirty="0" smtClean="0"/>
              <a:t>Vote à bulletin secret si au moins une demande </a:t>
            </a:r>
          </a:p>
          <a:p>
            <a:endParaRPr lang="fr-FR" dirty="0" smtClean="0"/>
          </a:p>
          <a:p>
            <a:r>
              <a:rPr lang="fr-FR" dirty="0" smtClean="0"/>
              <a:t>Sinon vote à main levée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NDIDATS pour la PERIODE  2017 - 2020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D16EAD3-921D-4286-9D58-6614290C7E74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graphicFrame>
        <p:nvGraphicFramePr>
          <p:cNvPr id="8" name="Tableau 7"/>
          <p:cNvGraphicFramePr>
            <a:graphicFrameLocks noGrp="1"/>
          </p:cNvGraphicFramePr>
          <p:nvPr/>
        </p:nvGraphicFramePr>
        <p:xfrm>
          <a:off x="1524000" y="1397000"/>
          <a:ext cx="7085163" cy="155054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361721"/>
                <a:gridCol w="3127554"/>
                <a:gridCol w="1595888"/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Nom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Secti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Résultat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Laurent BRICOUT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Badmint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438022">
                <a:tc>
                  <a:txBody>
                    <a:bodyPr/>
                    <a:lstStyle/>
                    <a:p>
                      <a:r>
                        <a:rPr lang="fr-FR" dirty="0" smtClean="0"/>
                        <a:t>Alain CATHELI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Badmint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Aliénor FAUR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Badmint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15/11/2017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3217060048"/>
              </p:ext>
            </p:extLst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283079" y="3309786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611169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9B77A4B-6A47-4F53-942C-ADCDBBCC0BAB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pic>
        <p:nvPicPr>
          <p:cNvPr id="90113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3486" y="172528"/>
            <a:ext cx="4642439" cy="329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95653" y="562604"/>
            <a:ext cx="3596256" cy="2542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Image 11" descr="11 ème Tournoi des Mousquetaires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83791" y="3390181"/>
            <a:ext cx="2281544" cy="3226279"/>
          </a:xfrm>
          <a:prstGeom prst="rect">
            <a:avLst/>
          </a:prstGeom>
        </p:spPr>
      </p:pic>
      <p:graphicFrame>
        <p:nvGraphicFramePr>
          <p:cNvPr id="13" name="Tableau 12"/>
          <p:cNvGraphicFramePr>
            <a:graphicFrameLocks noGrp="1"/>
          </p:cNvGraphicFramePr>
          <p:nvPr/>
        </p:nvGraphicFramePr>
        <p:xfrm>
          <a:off x="3631720" y="3415581"/>
          <a:ext cx="4701397" cy="243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01397"/>
              </a:tblGrid>
              <a:tr h="293367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Sans</a:t>
                      </a:r>
                      <a:r>
                        <a:rPr lang="fr-FR" sz="1400" baseline="0" dirty="0" smtClean="0"/>
                        <a:t> oublier …</a:t>
                      </a:r>
                      <a:endParaRPr lang="fr-FR" sz="1400" dirty="0"/>
                    </a:p>
                  </a:txBody>
                  <a:tcPr/>
                </a:tc>
              </a:tr>
              <a:tr h="293367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2 Tournois interne</a:t>
                      </a:r>
                      <a:endParaRPr lang="fr-FR" sz="1400" dirty="0"/>
                    </a:p>
                  </a:txBody>
                  <a:tcPr/>
                </a:tc>
              </a:tr>
              <a:tr h="293367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Le championnat du VO Seniors</a:t>
                      </a:r>
                      <a:endParaRPr lang="fr-FR" sz="1400" dirty="0"/>
                    </a:p>
                  </a:txBody>
                  <a:tcPr/>
                </a:tc>
              </a:tr>
              <a:tr h="293367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Les journées des IC vétérans</a:t>
                      </a:r>
                      <a:endParaRPr lang="fr-FR" sz="1400" dirty="0"/>
                    </a:p>
                  </a:txBody>
                  <a:tcPr/>
                </a:tc>
              </a:tr>
              <a:tr h="293367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Les journées des IC jeunes</a:t>
                      </a:r>
                      <a:endParaRPr lang="fr-FR" sz="1400" dirty="0"/>
                    </a:p>
                  </a:txBody>
                  <a:tcPr/>
                </a:tc>
              </a:tr>
              <a:tr h="293367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Les Rencontres à domicile</a:t>
                      </a:r>
                      <a:r>
                        <a:rPr lang="fr-FR" sz="1400" baseline="0" dirty="0" smtClean="0"/>
                        <a:t> des IC Séniors</a:t>
                      </a:r>
                      <a:endParaRPr lang="fr-FR" sz="1400" dirty="0"/>
                    </a:p>
                  </a:txBody>
                  <a:tcPr/>
                </a:tc>
              </a:tr>
              <a:tr h="293367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2 Rencontres jeunes au niveau Val d’Oise</a:t>
                      </a:r>
                      <a:endParaRPr lang="fr-FR" sz="1400" dirty="0"/>
                    </a:p>
                  </a:txBody>
                  <a:tcPr/>
                </a:tc>
              </a:tr>
              <a:tr h="293367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Les stages Jeunes</a:t>
                      </a:r>
                      <a:endParaRPr lang="fr-FR" sz="14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15/11/2017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3217060048"/>
              </p:ext>
            </p:extLst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265827" y="4028536"/>
            <a:ext cx="640611" cy="722775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611169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DEPENSES 2017-2018           Budget : </a:t>
            </a:r>
            <a:r>
              <a:rPr lang="fr-FR" dirty="0" smtClean="0">
                <a:solidFill>
                  <a:srgbClr val="FF0000"/>
                </a:solidFill>
              </a:rPr>
              <a:t>83 160€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1A984A-2885-485C-9CB4-0B73FDDBB761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graphicFrame>
        <p:nvGraphicFramePr>
          <p:cNvPr id="54275" name="Object 3"/>
          <p:cNvGraphicFramePr>
            <a:graphicFrameLocks noChangeAspect="1"/>
          </p:cNvGraphicFramePr>
          <p:nvPr/>
        </p:nvGraphicFramePr>
        <p:xfrm>
          <a:off x="1086928" y="1377950"/>
          <a:ext cx="7021902" cy="4103688"/>
        </p:xfrm>
        <a:graphic>
          <a:graphicData uri="http://schemas.openxmlformats.org/presentationml/2006/ole">
            <p:oleObj spid="_x0000_s54275" name="Worksheet" r:id="rId3" imgW="5103889" imgH="4104283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E9A6719-1D40-4D02-949D-06CEFB0B8B61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214282" y="4480888"/>
            <a:ext cx="5429288" cy="1714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/>
          <p:cNvPicPr/>
          <p:nvPr/>
        </p:nvPicPr>
        <p:blipFill>
          <a:blip r:embed="rId2">
            <a:extLst>
              <a:ext uri="{28A0092B-C50C-407E-A947-70E740481C1C}">
                <a14:useLocalDpi xmlns:lc="http://schemas.openxmlformats.org/drawingml/2006/lockedCanvas" xmlns:pic="http://schemas.openxmlformats.org/drawingml/2006/picture" xmlns:a14="http://schemas.microsoft.com/office/drawing/2010/main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4="http://schemas.microsoft.com/office/word/2010/wordml" xmlns:w="http://schemas.openxmlformats.org/wordprocessingml/2006/main" xmlns:w10="urn:schemas-microsoft-com:office:word" xmlns:wp="http://schemas.openxmlformats.org/drawingml/2006/wordprocessingDrawing" xmlns:wp14="http://schemas.microsoft.com/office/word/2010/wordprocessingDrawing" xmlns:v="urn:schemas-microsoft-com:vml" xmlns:m="http://schemas.openxmlformats.org/officeDocument/2006/math" xmlns:o="urn:schemas-microsoft-com:office:office" xmlns:mc="http://schemas.openxmlformats.org/markup-compatibility/2006" xmlns:wpc="http://schemas.microsoft.com/office/word/2010/wordprocessingCanvas" xmlns="" val="0"/>
              </a:ext>
            </a:extLst>
          </a:blip>
          <a:stretch>
            <a:fillRect/>
          </a:stretch>
        </p:blipFill>
        <p:spPr>
          <a:xfrm>
            <a:off x="5857884" y="285728"/>
            <a:ext cx="2889301" cy="5916664"/>
          </a:xfrm>
          <a:prstGeom prst="rect">
            <a:avLst/>
          </a:prstGeom>
        </p:spPr>
      </p:pic>
      <p:sp>
        <p:nvSpPr>
          <p:cNvPr id="9" name="Espace réservé de la date 3"/>
          <p:cNvSpPr txBox="1">
            <a:spLocks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-414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18B2E"/>
              </a:buClr>
              <a:buSzPct val="110000"/>
              <a:buFontTx/>
              <a:buBlip>
                <a:blip r:embed="rId3"/>
              </a:buBlip>
              <a:tabLst/>
              <a:defRPr/>
            </a:pPr>
            <a:r>
              <a:rPr kumimoji="0" lang="fr-F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63436"/>
                </a:solidFill>
                <a:effectLst/>
                <a:uLnTx/>
                <a:uFillTx/>
                <a:latin typeface="Arial" pitchFamily="34" charset="0"/>
                <a:ea typeface="ＭＳ Ｐゴシック" charset="0"/>
                <a:cs typeface="Arial" pitchFamily="34" charset="0"/>
              </a:rPr>
              <a:t>16/11/2017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63436"/>
              </a:solidFill>
              <a:effectLst/>
              <a:uLnTx/>
              <a:uFillTx/>
              <a:latin typeface="Arial" pitchFamily="34" charset="0"/>
              <a:ea typeface="ＭＳ Ｐゴシック" charset="0"/>
              <a:cs typeface="Arial" pitchFamily="34" charset="0"/>
            </a:endParaRPr>
          </a:p>
        </p:txBody>
      </p:sp>
      <p:sp>
        <p:nvSpPr>
          <p:cNvPr id="11" name="Espace réservé du numéro de diapositive 5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2FD78F-3EEB-4788-82BB-31A32855A147}" type="slidenum"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ＭＳ Ｐゴシック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2" name="Espace réservé du contenu 3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="" xmlns:wpc="http://schemas.microsoft.com/office/word/2010/wordprocessingCanvas" xmlns:mc="http://schemas.openxmlformats.org/markup-compatibility/2006" xmlns:o="urn:schemas-microsoft-com:office:office" xmlns:m="http://schemas.openxmlformats.org/officeDocument/2006/math" xmlns:v="urn:schemas-microsoft-com:vml" xmlns:wp14="http://schemas.microsoft.com/office/word/2010/wordprocessingDrawing" xmlns:wp="http://schemas.openxmlformats.org/drawingml/2006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a14="http://schemas.microsoft.com/office/drawing/2010/main" xmlns:pic="http://schemas.openxmlformats.org/drawingml/2006/picture" xmlns:lc="http://schemas.openxmlformats.org/drawingml/2006/lockedCanvas" val="0"/>
              </a:ext>
            </a:extLst>
          </a:blip>
          <a:stretch>
            <a:fillRect/>
          </a:stretch>
        </p:blipFill>
        <p:spPr>
          <a:xfrm>
            <a:off x="0" y="311607"/>
            <a:ext cx="5000628" cy="3857652"/>
          </a:xfrm>
          <a:prstGeom prst="rect">
            <a:avLst/>
          </a:prstGeom>
        </p:spPr>
      </p:pic>
      <p:sp>
        <p:nvSpPr>
          <p:cNvPr id="13" name="ZoneTexte 12"/>
          <p:cNvSpPr txBox="1"/>
          <p:nvPr/>
        </p:nvSpPr>
        <p:spPr>
          <a:xfrm>
            <a:off x="3857620" y="2214554"/>
            <a:ext cx="21431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600" dirty="0" smtClean="0">
                <a:solidFill>
                  <a:schemeClr val="tx2"/>
                </a:solidFill>
              </a:rPr>
              <a:t>+</a:t>
            </a:r>
            <a:endParaRPr lang="fr-FR" sz="9600" dirty="0">
              <a:solidFill>
                <a:schemeClr val="tx2"/>
              </a:solidFill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214281" y="4567148"/>
            <a:ext cx="554816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tx2"/>
                </a:solidFill>
              </a:rPr>
              <a:t>Assemblée Générale</a:t>
            </a:r>
          </a:p>
          <a:p>
            <a:pPr algn="ctr"/>
            <a:r>
              <a:rPr lang="fr-FR" sz="1600" dirty="0" smtClean="0"/>
              <a:t>Le rendez-vous annuel important pour valider ce qui a été fait et construire l’avenir.</a:t>
            </a:r>
          </a:p>
          <a:p>
            <a:pPr algn="ctr"/>
            <a:r>
              <a:rPr lang="fr-FR" sz="1600" dirty="0"/>
              <a:t> </a:t>
            </a:r>
            <a:r>
              <a:rPr lang="fr-FR" sz="1600" dirty="0" smtClean="0"/>
              <a:t>Un moment d’échanges et de partages.</a:t>
            </a:r>
            <a:endParaRPr lang="fr-FR" dirty="0"/>
          </a:p>
          <a:p>
            <a:pPr algn="ctr"/>
            <a:r>
              <a:rPr lang="fr-FR" sz="1800" b="1" dirty="0" smtClean="0">
                <a:solidFill>
                  <a:srgbClr val="FF0000"/>
                </a:solidFill>
              </a:rPr>
              <a:t>Merci aux personnes présentes ou représentées</a:t>
            </a:r>
            <a:endParaRPr lang="fr-FR" sz="18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recettes 2017-2018           Budget : </a:t>
            </a:r>
            <a:r>
              <a:rPr lang="fr-FR" dirty="0" smtClean="0">
                <a:solidFill>
                  <a:srgbClr val="FF0000"/>
                </a:solidFill>
              </a:rPr>
              <a:t>83 160€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1A984A-2885-485C-9CB4-0B73FDDBB761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graphicFrame>
        <p:nvGraphicFramePr>
          <p:cNvPr id="56323" name="Object 3"/>
          <p:cNvGraphicFramePr>
            <a:graphicFrameLocks noChangeAspect="1"/>
          </p:cNvGraphicFramePr>
          <p:nvPr/>
        </p:nvGraphicFramePr>
        <p:xfrm>
          <a:off x="1009291" y="1138687"/>
          <a:ext cx="6961517" cy="4671620"/>
        </p:xfrm>
        <a:graphic>
          <a:graphicData uri="http://schemas.openxmlformats.org/presentationml/2006/ole">
            <p:oleObj spid="_x0000_s56323" name="Worksheet" r:id="rId3" imgW="5103889" imgH="3575267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 smtClean="0"/>
              <a:t>QUESTIONS SUR LE BUDGET  </a:t>
            </a:r>
          </a:p>
          <a:p>
            <a:pPr>
              <a:buNone/>
            </a:pPr>
            <a:r>
              <a:rPr lang="fr-FR" sz="2800" dirty="0" smtClean="0"/>
              <a:t>                2017 - 2018?</a:t>
            </a:r>
          </a:p>
          <a:p>
            <a:endParaRPr lang="fr-FR" sz="2800" dirty="0" smtClean="0"/>
          </a:p>
          <a:p>
            <a:endParaRPr lang="fr-FR" sz="2800" dirty="0" smtClean="0"/>
          </a:p>
          <a:p>
            <a:r>
              <a:rPr lang="fr-FR" sz="2800" dirty="0" smtClean="0"/>
              <a:t>APPROBATION DU BUDGET 2017-2018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1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048A4FA-17E7-4243-BE81-3F75E5F7A467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 dirty="0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15/11/2017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3217060048"/>
              </p:ext>
            </p:extLst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024288" y="4612376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611169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None/>
            </a:pP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pic>
        <p:nvPicPr>
          <p:cNvPr id="7" name="Image 6" descr="logo La Residenc e 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37970" y="405441"/>
            <a:ext cx="8165759" cy="1742536"/>
          </a:xfrm>
          <a:prstGeom prst="rect">
            <a:avLst/>
          </a:prstGeom>
        </p:spPr>
      </p:pic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38700" y="2503369"/>
            <a:ext cx="4880299" cy="323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Rectangle 8"/>
          <p:cNvSpPr/>
          <p:nvPr/>
        </p:nvSpPr>
        <p:spPr>
          <a:xfrm>
            <a:off x="819487" y="5963730"/>
            <a:ext cx="73583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dirty="0" smtClean="0"/>
              <a:t>http://www.laresidence.fr/nos-agences-immobilieres-herblay</a:t>
            </a:r>
            <a:endParaRPr lang="fr-FR" sz="2000" dirty="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Partenariat de 3 ans.</a:t>
            </a:r>
          </a:p>
          <a:p>
            <a:endParaRPr lang="fr-FR" dirty="0" smtClean="0"/>
          </a:p>
          <a:p>
            <a:r>
              <a:rPr lang="fr-FR" dirty="0" smtClean="0"/>
              <a:t>En cours de préparation :</a:t>
            </a:r>
          </a:p>
          <a:p>
            <a:pPr lvl="1"/>
            <a:r>
              <a:rPr lang="fr-FR" dirty="0" smtClean="0"/>
              <a:t>Une banderole 5m x 1,5m pour affichage permanent aux </a:t>
            </a:r>
            <a:r>
              <a:rPr lang="fr-FR" dirty="0" err="1" smtClean="0"/>
              <a:t>Beauregards</a:t>
            </a:r>
            <a:endParaRPr lang="fr-FR" dirty="0" smtClean="0"/>
          </a:p>
          <a:p>
            <a:pPr lvl="1"/>
            <a:r>
              <a:rPr lang="fr-FR" dirty="0" smtClean="0"/>
              <a:t>2 </a:t>
            </a:r>
            <a:r>
              <a:rPr lang="fr-FR" dirty="0" smtClean="0"/>
              <a:t>Kakemono ou </a:t>
            </a:r>
            <a:r>
              <a:rPr lang="fr-FR" dirty="0" smtClean="0"/>
              <a:t>Roll-up </a:t>
            </a:r>
            <a:r>
              <a:rPr lang="fr-FR" dirty="0" smtClean="0"/>
              <a:t>standards 85x200mm </a:t>
            </a:r>
          </a:p>
          <a:p>
            <a:pPr lvl="1"/>
            <a:r>
              <a:rPr lang="fr-FR" dirty="0" smtClean="0"/>
              <a:t>Tenues de Badminton avec logos</a:t>
            </a:r>
          </a:p>
          <a:p>
            <a:pPr lvl="1"/>
            <a:endParaRPr lang="fr-FR" dirty="0" smtClean="0"/>
          </a:p>
          <a:p>
            <a:r>
              <a:rPr lang="fr-FR" dirty="0" smtClean="0"/>
              <a:t>Autres animations en cours de réflexion</a:t>
            </a:r>
          </a:p>
          <a:p>
            <a:pPr lvl="1"/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artenariat avec « LA RESIDENCE »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None/>
            </a:pPr>
            <a:endParaRPr lang="fr-FR" dirty="0" smtClean="0"/>
          </a:p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6692" y="750498"/>
            <a:ext cx="3166613" cy="2374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42358" y="2868284"/>
            <a:ext cx="1657709" cy="2486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ZoneTexte 9"/>
          <p:cNvSpPr txBox="1"/>
          <p:nvPr/>
        </p:nvSpPr>
        <p:spPr>
          <a:xfrm>
            <a:off x="3381554" y="3700733"/>
            <a:ext cx="471002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/>
              <a:t>Daniel Lemoine</a:t>
            </a:r>
          </a:p>
          <a:p>
            <a:pPr algn="ctr"/>
            <a:r>
              <a:rPr lang="fr-FR" dirty="0" smtClean="0"/>
              <a:t>Adjoint au Maire délégué au sport, aux bâtiments municipaux et conseiller communautaire </a:t>
            </a:r>
          </a:p>
          <a:p>
            <a:endParaRPr lang="fr-FR" dirty="0" smtClean="0"/>
          </a:p>
          <a:p>
            <a:endParaRPr lang="fr-FR" dirty="0"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412789" y="1317673"/>
            <a:ext cx="8424936" cy="4936478"/>
          </a:xfrm>
        </p:spPr>
        <p:txBody>
          <a:bodyPr/>
          <a:lstStyle/>
          <a:p>
            <a:r>
              <a:rPr lang="fr-FR" sz="1400" dirty="0" smtClean="0"/>
              <a:t>Veiller à permettre à la Gymnastique Masculine de continuer d’exister à HERBLAY .</a:t>
            </a:r>
          </a:p>
          <a:p>
            <a:endParaRPr lang="fr-FR" sz="1400" dirty="0" smtClean="0"/>
          </a:p>
          <a:p>
            <a:r>
              <a:rPr lang="fr-FR" sz="1400" dirty="0" smtClean="0"/>
              <a:t>Ne pas relâcher les efforts pour permettre aux clubs de développer leurs projets et les soutenir pour :</a:t>
            </a:r>
          </a:p>
          <a:p>
            <a:pPr lvl="1"/>
            <a:r>
              <a:rPr lang="fr-FR" sz="1400" dirty="0" smtClean="0"/>
              <a:t>Disposer de créneaux,</a:t>
            </a:r>
          </a:p>
          <a:p>
            <a:pPr lvl="1"/>
            <a:r>
              <a:rPr lang="fr-FR" sz="1400" dirty="0" smtClean="0"/>
              <a:t>Trouver des sponsors.</a:t>
            </a:r>
          </a:p>
          <a:p>
            <a:pPr lvl="1"/>
            <a:r>
              <a:rPr lang="fr-FR" sz="1400" dirty="0" smtClean="0"/>
              <a:t>Permettre la découverte des sports dans les Ecoles Elémentaires.</a:t>
            </a:r>
          </a:p>
          <a:p>
            <a:pPr lvl="1"/>
            <a:r>
              <a:rPr lang="fr-FR" sz="1400" dirty="0" smtClean="0"/>
              <a:t>Organiser des manifestations sportives.</a:t>
            </a:r>
          </a:p>
          <a:p>
            <a:pPr lvl="1"/>
            <a:endParaRPr lang="fr-FR" sz="1400" dirty="0" smtClean="0"/>
          </a:p>
          <a:p>
            <a:r>
              <a:rPr lang="fr-FR" sz="1400" dirty="0" smtClean="0"/>
              <a:t>Mettre en place une vraie politique sportive définie et conçue avec les CLUBS pour tous les types de pratiques :</a:t>
            </a:r>
          </a:p>
          <a:p>
            <a:pPr lvl="1"/>
            <a:r>
              <a:rPr lang="fr-FR" sz="1400" dirty="0" smtClean="0"/>
              <a:t>TRES JEUNES,</a:t>
            </a:r>
          </a:p>
          <a:p>
            <a:pPr lvl="1"/>
            <a:r>
              <a:rPr lang="fr-FR" sz="1400" dirty="0" smtClean="0"/>
              <a:t>JEUNES,</a:t>
            </a:r>
          </a:p>
          <a:p>
            <a:pPr lvl="1"/>
            <a:r>
              <a:rPr lang="fr-FR" sz="1400" dirty="0" smtClean="0"/>
              <a:t>VETERANS,</a:t>
            </a:r>
          </a:p>
          <a:p>
            <a:pPr lvl="1"/>
            <a:r>
              <a:rPr lang="fr-FR" sz="1400" dirty="0" smtClean="0"/>
              <a:t>LOISIRS,</a:t>
            </a:r>
          </a:p>
          <a:p>
            <a:pPr lvl="1"/>
            <a:r>
              <a:rPr lang="fr-FR" sz="1400" dirty="0" smtClean="0"/>
              <a:t>COMPETITEURS</a:t>
            </a:r>
          </a:p>
          <a:p>
            <a:pPr lvl="1"/>
            <a:endParaRPr lang="fr-FR" sz="1400" dirty="0" smtClean="0"/>
          </a:p>
          <a:p>
            <a:r>
              <a:rPr lang="fr-FR" sz="1400" dirty="0" smtClean="0"/>
              <a:t>Interrogations sur le nombre de créneaux du vendredi  soir et du samedi qui sont supprimés pour des évènements sportifs ou pas. </a:t>
            </a:r>
            <a:endParaRPr lang="fr-FR" sz="1400" dirty="0" smtClean="0"/>
          </a:p>
          <a:p>
            <a:pPr lvl="1"/>
            <a:endParaRPr lang="fr-FR" sz="1400" dirty="0" smtClean="0"/>
          </a:p>
          <a:p>
            <a:pPr lvl="1">
              <a:buNone/>
            </a:pPr>
            <a:endParaRPr lang="fr-FR" dirty="0" smtClean="0"/>
          </a:p>
          <a:p>
            <a:pPr lvl="1"/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nterrogations et Messages forts pour la </a:t>
            </a:r>
            <a:r>
              <a:rPr lang="fr-FR" dirty="0" err="1" smtClean="0"/>
              <a:t>municipalit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6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 smtClean="0"/>
              <a:t>Assemblée Générale Ordinaire - 16 11 2017</a:t>
            </a:r>
            <a:endParaRPr lang="fr-FR" dirty="0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pPr algn="ctr">
              <a:buNone/>
            </a:pPr>
            <a:r>
              <a:rPr lang="fr-FR" sz="2800" dirty="0" smtClean="0"/>
              <a:t>Loc Gopalakrisna</a:t>
            </a:r>
          </a:p>
          <a:p>
            <a:pPr algn="ctr">
              <a:buNone/>
            </a:pPr>
            <a:r>
              <a:rPr lang="fr-FR" sz="2800" dirty="0" smtClean="0"/>
              <a:t>Président du CDBVO</a:t>
            </a:r>
          </a:p>
          <a:p>
            <a:pPr>
              <a:buFont typeface="Arial" pitchFamily="34" charset="0"/>
              <a:buChar char="•"/>
            </a:pP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pic>
        <p:nvPicPr>
          <p:cNvPr id="4710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45919" y="276045"/>
            <a:ext cx="2945921" cy="2945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Un grand merci aux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8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1FB85A7-9051-4777-BF6A-ACCA7C7B2C30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graphicFrame>
        <p:nvGraphicFramePr>
          <p:cNvPr id="7" name="Diagramme 6"/>
          <p:cNvGraphicFramePr/>
          <p:nvPr/>
        </p:nvGraphicFramePr>
        <p:xfrm>
          <a:off x="1523999" y="267419"/>
          <a:ext cx="7093790" cy="51935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Sourire 7"/>
          <p:cNvSpPr/>
          <p:nvPr/>
        </p:nvSpPr>
        <p:spPr>
          <a:xfrm>
            <a:off x="1216325" y="5710686"/>
            <a:ext cx="914400" cy="914400"/>
          </a:xfrm>
          <a:prstGeom prst="smileyFac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/>
          <p:cNvSpPr txBox="1"/>
          <p:nvPr/>
        </p:nvSpPr>
        <p:spPr>
          <a:xfrm>
            <a:off x="2648310" y="5822831"/>
            <a:ext cx="4641011" cy="89255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2800" dirty="0" smtClean="0">
                <a:solidFill>
                  <a:schemeClr val="tx1"/>
                </a:solidFill>
              </a:rPr>
              <a:t>BONNE SAISON 2017 -2018</a:t>
            </a:r>
          </a:p>
          <a:p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42838" y="4296205"/>
            <a:ext cx="1967516" cy="2786082"/>
          </a:xfrm>
          <a:prstGeom prst="rect">
            <a:avLst/>
          </a:prstGeom>
          <a:noFill/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ERCI POUR VOTRE PARTICIPATI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2C1545-0C57-49E7-9CF3-9F1A1B40B520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pic>
        <p:nvPicPr>
          <p:cNvPr id="7" name="Image 6"/>
          <p:cNvPicPr/>
          <p:nvPr/>
        </p:nvPicPr>
        <p:blipFill>
          <a:blip r:embed="rId3">
            <a:extLst>
              <a:ext uri="{28A0092B-C50C-407E-A947-70E740481C1C}">
                <a14:useLocalDpi xmlns:lc="http://schemas.openxmlformats.org/drawingml/2006/lockedCanvas" xmlns:pic="http://schemas.openxmlformats.org/drawingml/2006/picture" xmlns:a14="http://schemas.microsoft.com/office/drawing/2010/main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4="http://schemas.microsoft.com/office/word/2010/wordml" xmlns:w="http://schemas.openxmlformats.org/wordprocessingml/2006/main" xmlns:w10="urn:schemas-microsoft-com:office:word" xmlns:wp="http://schemas.openxmlformats.org/drawingml/2006/wordprocessingDrawing" xmlns:wp14="http://schemas.microsoft.com/office/word/2010/wordprocessingDrawing" xmlns:v="urn:schemas-microsoft-com:vml" xmlns:m="http://schemas.openxmlformats.org/officeDocument/2006/math" xmlns:o="urn:schemas-microsoft-com:office:office" xmlns:mc="http://schemas.openxmlformats.org/markup-compatibility/2006" xmlns:wpc="http://schemas.microsoft.com/office/word/2010/wordprocessingCanvas" xmlns="" val="0"/>
              </a:ext>
            </a:extLst>
          </a:blip>
          <a:stretch>
            <a:fillRect/>
          </a:stretch>
        </p:blipFill>
        <p:spPr>
          <a:xfrm>
            <a:off x="5849257" y="242596"/>
            <a:ext cx="2889301" cy="5916664"/>
          </a:xfrm>
          <a:prstGeom prst="rect">
            <a:avLst/>
          </a:prstGeom>
        </p:spPr>
      </p:pic>
      <p:pic>
        <p:nvPicPr>
          <p:cNvPr id="8" name="Espace réservé du contenu 3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="" xmlns:wpc="http://schemas.microsoft.com/office/word/2010/wordprocessingCanvas" xmlns:mc="http://schemas.openxmlformats.org/markup-compatibility/2006" xmlns:o="urn:schemas-microsoft-com:office:office" xmlns:m="http://schemas.openxmlformats.org/officeDocument/2006/math" xmlns:v="urn:schemas-microsoft-com:vml" xmlns:wp14="http://schemas.microsoft.com/office/word/2010/wordprocessingDrawing" xmlns:wp="http://schemas.openxmlformats.org/drawingml/2006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a14="http://schemas.microsoft.com/office/drawing/2010/main" xmlns:pic="http://schemas.openxmlformats.org/drawingml/2006/picture" xmlns:lc="http://schemas.openxmlformats.org/drawingml/2006/lockedCanvas" val="0"/>
              </a:ext>
            </a:extLst>
          </a:blip>
          <a:stretch>
            <a:fillRect/>
          </a:stretch>
        </p:blipFill>
        <p:spPr>
          <a:xfrm>
            <a:off x="301925" y="760184"/>
            <a:ext cx="5000628" cy="3857652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3857620" y="3508516"/>
            <a:ext cx="21431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600" dirty="0" smtClean="0">
                <a:solidFill>
                  <a:schemeClr val="tx2"/>
                </a:solidFill>
              </a:rPr>
              <a:t>+</a:t>
            </a:r>
            <a:endParaRPr lang="fr-FR" sz="96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philippe\AppData\Local\Microsoft\Windows\INetCache\Content.Outlook\UET5XKC5\Nouveau logo GAM-page-001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18717" y="0"/>
            <a:ext cx="1513227" cy="2142790"/>
          </a:xfrm>
          <a:prstGeom prst="rect">
            <a:avLst/>
          </a:prstGeom>
          <a:noFill/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542185" y="1214156"/>
            <a:ext cx="8424936" cy="3802744"/>
          </a:xfrm>
        </p:spPr>
        <p:txBody>
          <a:bodyPr/>
          <a:lstStyle/>
          <a:p>
            <a:r>
              <a:rPr lang="fr-FR" dirty="0" smtClean="0"/>
              <a:t>Rappel des objectifs 2016- 2017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248658" y="260648"/>
            <a:ext cx="7800972" cy="785794"/>
          </a:xfrm>
        </p:spPr>
        <p:txBody>
          <a:bodyPr>
            <a:normAutofit fontScale="90000"/>
          </a:bodyPr>
          <a:lstStyle/>
          <a:p>
            <a:r>
              <a:rPr lang="fr-FR" sz="2400" dirty="0" smtClean="0">
                <a:solidFill>
                  <a:schemeClr val="accent1"/>
                </a:solidFill>
              </a:rPr>
              <a:t>Projet « SPORTS-AMBITIONS 2016-2020 »</a:t>
            </a:r>
            <a:br>
              <a:rPr lang="fr-FR" sz="2400" dirty="0" smtClean="0">
                <a:solidFill>
                  <a:schemeClr val="accent1"/>
                </a:solidFill>
              </a:rPr>
            </a:br>
            <a:r>
              <a:rPr lang="fr-FR" i="1" dirty="0" smtClean="0">
                <a:solidFill>
                  <a:srgbClr val="FF0000"/>
                </a:solidFill>
              </a:rPr>
              <a:t>« DEVENEZ ACTEURS DE VOTRE ASSOCIATION »</a:t>
            </a:r>
            <a:br>
              <a:rPr lang="fr-FR" i="1" dirty="0" smtClean="0">
                <a:solidFill>
                  <a:srgbClr val="FF0000"/>
                </a:solidFill>
              </a:rPr>
            </a:b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B1D59F7-A076-4176-AD64-2C9CA4BEF113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 smtClean="0"/>
              <a:t>Assemblée Générale Ordinaire - 16 11 2017</a:t>
            </a:r>
            <a:endParaRPr lang="fr-FR" dirty="0"/>
          </a:p>
        </p:txBody>
      </p:sp>
      <p:graphicFrame>
        <p:nvGraphicFramePr>
          <p:cNvPr id="11" name="Diagramme 10"/>
          <p:cNvGraphicFramePr/>
          <p:nvPr/>
        </p:nvGraphicFramePr>
        <p:xfrm>
          <a:off x="224287" y="1396999"/>
          <a:ext cx="8169216" cy="51418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Fonctionnement GENERA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graphicFrame>
        <p:nvGraphicFramePr>
          <p:cNvPr id="8" name="Tableau 7"/>
          <p:cNvGraphicFramePr>
            <a:graphicFrameLocks noGrp="1"/>
          </p:cNvGraphicFramePr>
          <p:nvPr/>
        </p:nvGraphicFramePr>
        <p:xfrm>
          <a:off x="474452" y="1026542"/>
          <a:ext cx="8203724" cy="558254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50931"/>
                <a:gridCol w="967830"/>
                <a:gridCol w="3134032"/>
                <a:gridCol w="2050931"/>
              </a:tblGrid>
              <a:tr h="645141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016-2017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Tendanc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Commentair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Projection 2017-2018</a:t>
                      </a:r>
                      <a:endParaRPr lang="fr-FR" dirty="0"/>
                    </a:p>
                  </a:txBody>
                  <a:tcPr/>
                </a:tc>
              </a:tr>
              <a:tr h="9523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Optimiser le fonctionnement du CA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100" dirty="0" smtClean="0"/>
                        <a:t>Préoccupation</a:t>
                      </a:r>
                      <a:r>
                        <a:rPr lang="fr-FR" sz="1100" baseline="0" dirty="0" smtClean="0"/>
                        <a:t> permanente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100" baseline="0" dirty="0" smtClean="0"/>
                        <a:t>Réussite avec la mise en place de la fonction « responsable jeunes »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100" baseline="0" dirty="0" smtClean="0"/>
                        <a:t> Fonction « secrétaire non pourvue </a:t>
                      </a:r>
                      <a:r>
                        <a:rPr lang="fr-FR" sz="1100" baseline="0" dirty="0" smtClean="0"/>
                        <a:t>»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100" baseline="0" dirty="0" smtClean="0"/>
                        <a:t>Prise en charge par Alain G du planning de répartition de tous les créneaux aux </a:t>
                      </a:r>
                      <a:r>
                        <a:rPr lang="fr-FR" sz="1100" baseline="0" dirty="0" err="1" smtClean="0"/>
                        <a:t>Beauregards</a:t>
                      </a:r>
                      <a:endParaRPr lang="fr-FR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voir avec le futur CA.</a:t>
                      </a:r>
                    </a:p>
                    <a:p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épend beaucoup des envies et de la disponibilité des Elus.</a:t>
                      </a:r>
                    </a:p>
                  </a:txBody>
                  <a:tcPr/>
                </a:tc>
              </a:tr>
              <a:tr h="6451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Externaliser les pai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dirty="0" smtClean="0"/>
                        <a:t> </a:t>
                      </a: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it par Alain 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8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  <a:tr h="15974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Administrer et faire vivre le site Web et la page </a:t>
                      </a:r>
                      <a:r>
                        <a:rPr lang="fr-FR" dirty="0" err="1" smtClean="0"/>
                        <a:t>Facebook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tisfaction, partagé entre Alain G, Sébastien et Philippe .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ultations en augmentation.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 seuil des 10 000 consultations du site franchi début </a:t>
                      </a:r>
                      <a:r>
                        <a:rPr lang="fr-FR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v</a:t>
                      </a: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017.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uis 12 mois : 3460 visiteurs, 6463 sessions, 2min24 par s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nner le réflexe de consulter le site.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ndre vers le </a:t>
                      </a:r>
                      <a:r>
                        <a:rPr lang="fr-FR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ero</a:t>
                      </a: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apier</a:t>
                      </a:r>
                    </a:p>
                    <a:p>
                      <a:endParaRPr lang="fr-FR" sz="14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9523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Construire un plan d’investissement matériel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ente d’un trampoline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 en attente compte tenu des interrogations sur la pérennité de la gymnastique masculin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tériel pour mini gym en septembre.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ente de 2 autres trampolines en cours</a:t>
                      </a:r>
                    </a:p>
                  </a:txBody>
                  <a:tcPr/>
                </a:tc>
              </a:tr>
              <a:tr h="6451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Trouver un sponsor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ct puis signature en septembre 2017 pour 3 a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03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70673" y="2779480"/>
            <a:ext cx="966158" cy="633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45528" y="3718378"/>
            <a:ext cx="753280" cy="922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53421" y="5985596"/>
            <a:ext cx="920152" cy="633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035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62048" y="5072289"/>
            <a:ext cx="917294" cy="791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0356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587925" y="1720970"/>
            <a:ext cx="931653" cy="873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0360" name="AutoShape 8" descr="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7" name="Image 16" descr="logo La Residenc e 2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656379" y="6058728"/>
            <a:ext cx="1966691" cy="419683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BADMINT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graphicFrame>
        <p:nvGraphicFramePr>
          <p:cNvPr id="7" name="Tableau 6"/>
          <p:cNvGraphicFramePr>
            <a:graphicFrameLocks noGrp="1"/>
          </p:cNvGraphicFramePr>
          <p:nvPr/>
        </p:nvGraphicFramePr>
        <p:xfrm>
          <a:off x="690114" y="687334"/>
          <a:ext cx="8151960" cy="603620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975448"/>
                <a:gridCol w="1121434"/>
                <a:gridCol w="3017088"/>
                <a:gridCol w="2037990"/>
              </a:tblGrid>
              <a:tr h="622491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016-2017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Tendanc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Commentair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Projection 2017-2018</a:t>
                      </a:r>
                      <a:endParaRPr lang="fr-FR" dirty="0"/>
                    </a:p>
                  </a:txBody>
                  <a:tcPr/>
                </a:tc>
              </a:tr>
              <a:tr h="8003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évelopper la compét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14-15</a:t>
                      </a:r>
                      <a:r>
                        <a:rPr lang="fr-FR" sz="1600" baseline="0" dirty="0" smtClean="0"/>
                        <a:t> : 59 compétiteurs</a:t>
                      </a:r>
                    </a:p>
                    <a:p>
                      <a:r>
                        <a:rPr lang="fr-FR" sz="1600" baseline="0" dirty="0" smtClean="0"/>
                        <a:t>15-16 : 80 compétiteurs</a:t>
                      </a:r>
                    </a:p>
                    <a:p>
                      <a:r>
                        <a:rPr lang="fr-FR" sz="1600" dirty="0" smtClean="0"/>
                        <a:t>16-17 : 91 </a:t>
                      </a:r>
                      <a:r>
                        <a:rPr lang="fr-FR" sz="1600" baseline="0" dirty="0" smtClean="0"/>
                        <a:t>compétiteurs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 smtClean="0"/>
                    </a:p>
                    <a:p>
                      <a:pPr algn="ctr"/>
                      <a:r>
                        <a:rPr lang="fr-FR" sz="2400" dirty="0" smtClean="0"/>
                        <a:t>&gt; 100</a:t>
                      </a:r>
                      <a:endParaRPr lang="fr-FR" sz="2400" dirty="0"/>
                    </a:p>
                  </a:txBody>
                  <a:tcPr/>
                </a:tc>
              </a:tr>
              <a:tr h="5632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ire 2 tournois interne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 smtClean="0"/>
                    </a:p>
                    <a:p>
                      <a:pPr algn="ctr"/>
                      <a:r>
                        <a:rPr lang="fr-FR" sz="1600" dirty="0" smtClean="0"/>
                        <a:t>Octobre et juin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 smtClean="0"/>
                    </a:p>
                    <a:p>
                      <a:pPr algn="ctr"/>
                      <a:r>
                        <a:rPr lang="fr-FR" sz="1600" dirty="0" smtClean="0"/>
                        <a:t>idem</a:t>
                      </a:r>
                      <a:endParaRPr lang="fr-FR" sz="1600" dirty="0"/>
                    </a:p>
                  </a:txBody>
                  <a:tcPr/>
                </a:tc>
              </a:tr>
              <a:tr h="8003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nter en D2 de l’</a:t>
                      </a:r>
                      <a:r>
                        <a:rPr lang="fr-FR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rclub</a:t>
                      </a:r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épartemental Mix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 dirty="0" smtClean="0"/>
                    </a:p>
                    <a:p>
                      <a:pPr algn="ctr"/>
                      <a:r>
                        <a:rPr lang="fr-FR" sz="1600" dirty="0" err="1" smtClean="0"/>
                        <a:t>Râté</a:t>
                      </a:r>
                      <a:r>
                        <a:rPr lang="fr-FR" sz="1600" baseline="0" dirty="0" smtClean="0"/>
                        <a:t> de peu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 smtClean="0"/>
                    </a:p>
                    <a:p>
                      <a:pPr algn="ctr"/>
                      <a:r>
                        <a:rPr lang="fr-FR" sz="1600" dirty="0" smtClean="0"/>
                        <a:t>On</a:t>
                      </a:r>
                      <a:r>
                        <a:rPr lang="fr-FR" sz="1600" baseline="0" dirty="0" smtClean="0"/>
                        <a:t> « croise les doigts »</a:t>
                      </a:r>
                      <a:endParaRPr lang="fr-FR" sz="1600" dirty="0"/>
                    </a:p>
                  </a:txBody>
                  <a:tcPr/>
                </a:tc>
              </a:tr>
              <a:tr h="103748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tre sur le podium de l’</a:t>
                      </a:r>
                      <a:r>
                        <a:rPr lang="fr-FR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rclub</a:t>
                      </a:r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épartemental Vétéra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 dirty="0" smtClean="0"/>
                    </a:p>
                    <a:p>
                      <a:pPr algn="ctr"/>
                      <a:r>
                        <a:rPr lang="fr-FR" sz="1600" dirty="0" smtClean="0"/>
                        <a:t>2 </a:t>
                      </a:r>
                      <a:r>
                        <a:rPr lang="fr-FR" sz="1600" dirty="0" err="1" smtClean="0"/>
                        <a:t>ème</a:t>
                      </a:r>
                      <a:r>
                        <a:rPr lang="fr-FR" sz="1600" dirty="0" smtClean="0"/>
                        <a:t> de très </a:t>
                      </a:r>
                      <a:r>
                        <a:rPr lang="fr-FR" sz="1600" dirty="0" smtClean="0"/>
                        <a:t>peu  la 1</a:t>
                      </a:r>
                      <a:r>
                        <a:rPr lang="fr-FR" sz="1600" baseline="30000" dirty="0" smtClean="0"/>
                        <a:t>ère</a:t>
                      </a:r>
                      <a:r>
                        <a:rPr lang="fr-FR" sz="1600" baseline="0" dirty="0" smtClean="0"/>
                        <a:t> place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 smtClean="0"/>
                    </a:p>
                    <a:p>
                      <a:pPr algn="ctr"/>
                      <a:r>
                        <a:rPr lang="fr-FR" sz="1600" dirty="0" smtClean="0"/>
                        <a:t>La bonne année</a:t>
                      </a:r>
                      <a:r>
                        <a:rPr lang="fr-FR" sz="1600" baseline="0" dirty="0" smtClean="0"/>
                        <a:t> !!</a:t>
                      </a:r>
                      <a:endParaRPr lang="fr-FR" sz="1600" dirty="0"/>
                    </a:p>
                  </a:txBody>
                  <a:tcPr/>
                </a:tc>
              </a:tr>
              <a:tr h="8003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méliorer le classement des jeun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600" dirty="0" smtClean="0"/>
                        <a:t>La</a:t>
                      </a:r>
                      <a:r>
                        <a:rPr lang="fr-FR" sz="1600" baseline="0" dirty="0" smtClean="0"/>
                        <a:t> relance est amorcée.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600" baseline="0" dirty="0" smtClean="0"/>
                        <a:t>Lancement des Equipes jeunes en IC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Bons espoirs avec le renfort de l’encadrement</a:t>
                      </a:r>
                      <a:endParaRPr lang="fr-FR" sz="1600" dirty="0"/>
                    </a:p>
                  </a:txBody>
                  <a:tcPr/>
                </a:tc>
              </a:tr>
              <a:tr h="103748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nforcer le lien avec les Etablissements scolai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600" dirty="0" smtClean="0"/>
                        <a:t>Difficile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600" dirty="0" smtClean="0"/>
                        <a:t>A</a:t>
                      </a:r>
                      <a:r>
                        <a:rPr lang="fr-FR" sz="1600" baseline="0" dirty="0" smtClean="0"/>
                        <a:t> quand un créneau Bad dans le cadre des écoles Elémentaires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sz="1600" dirty="0" smtClean="0"/>
                        <a:t>En cours de relance avec les collèges</a:t>
                      </a:r>
                      <a:endParaRPr lang="fr-FR" sz="16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51836" y="1430857"/>
            <a:ext cx="920152" cy="633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51836" y="2284872"/>
            <a:ext cx="920152" cy="633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48960" y="3990027"/>
            <a:ext cx="920152" cy="763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4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51926" y="5865962"/>
            <a:ext cx="905260" cy="724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86341" y="3054242"/>
            <a:ext cx="810873" cy="687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751838" y="4857464"/>
            <a:ext cx="957520" cy="784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YMNASTIQUE MASCULIN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graphicFrame>
        <p:nvGraphicFramePr>
          <p:cNvPr id="7" name="Tableau 6"/>
          <p:cNvGraphicFramePr>
            <a:graphicFrameLocks noGrp="1"/>
          </p:cNvGraphicFramePr>
          <p:nvPr/>
        </p:nvGraphicFramePr>
        <p:xfrm>
          <a:off x="638355" y="1120955"/>
          <a:ext cx="7850036" cy="51206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962509"/>
                <a:gridCol w="1168879"/>
                <a:gridCol w="2756139"/>
                <a:gridCol w="196250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016-2017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Tendanc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Commentair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Projection 2017-2018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Avoir 75 adhérents en GAM</a:t>
                      </a:r>
                    </a:p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dirty="0" smtClean="0"/>
                        <a:t>Impossible à atteindre</a:t>
                      </a:r>
                      <a:r>
                        <a:rPr lang="fr-FR" baseline="0" dirty="0" smtClean="0"/>
                        <a:t> : 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baseline="0" dirty="0" smtClean="0"/>
                        <a:t>Pas de mini gym et pertes d’adhérent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Avoir 12 adhérents en Mini Gym</a:t>
                      </a:r>
                    </a:p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fr-FR" baseline="0" dirty="0" smtClean="0"/>
                        <a:t>Pas de créneaux attribués</a:t>
                      </a:r>
                      <a:endParaRPr lang="fr-FR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Développer les compétitions</a:t>
                      </a:r>
                    </a:p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dirty="0" smtClean="0"/>
                        <a:t>Pas</a:t>
                      </a:r>
                      <a:r>
                        <a:rPr lang="fr-FR" baseline="0" dirty="0" smtClean="0"/>
                        <a:t> le vivier nécessair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Améliorer les conditions matérielles de pratique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dirty="0" smtClean="0"/>
                    </a:p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fr-FR" dirty="0" smtClean="0"/>
                        <a:t>Energie</a:t>
                      </a:r>
                      <a:r>
                        <a:rPr lang="fr-FR" baseline="0" dirty="0" smtClean="0"/>
                        <a:t> dépensée pour faire reconnaitre la gymnastique masculin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65662" y="4520241"/>
            <a:ext cx="905260" cy="724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44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85331" y="5365630"/>
            <a:ext cx="927771" cy="86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44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44158" y="2687129"/>
            <a:ext cx="878936" cy="878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58535" y="3615907"/>
            <a:ext cx="878936" cy="878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41282" y="1769853"/>
            <a:ext cx="878936" cy="878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02756" y="1816888"/>
            <a:ext cx="1137063" cy="745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51639" y="2780171"/>
            <a:ext cx="1137063" cy="745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99856" y="3595778"/>
            <a:ext cx="878936" cy="878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59925" y="4999008"/>
            <a:ext cx="931653" cy="873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464547" y="3836586"/>
            <a:ext cx="8424936" cy="2892018"/>
          </a:xfrm>
        </p:spPr>
        <p:txBody>
          <a:bodyPr/>
          <a:lstStyle/>
          <a:p>
            <a:r>
              <a:rPr lang="fr-FR" dirty="0" smtClean="0"/>
              <a:t>L’arrêt de la section Trampoline n’a pas eu d’effet sur le total des adhérents du club.</a:t>
            </a:r>
          </a:p>
          <a:p>
            <a:r>
              <a:rPr lang="fr-FR" dirty="0" smtClean="0"/>
              <a:t>Une année record pour les adhérents Badminton.</a:t>
            </a:r>
          </a:p>
          <a:p>
            <a:r>
              <a:rPr lang="fr-FR" dirty="0" smtClean="0"/>
              <a:t> Pour la Gymnastique Masculine :</a:t>
            </a:r>
          </a:p>
          <a:p>
            <a:pPr lvl="1"/>
            <a:r>
              <a:rPr lang="fr-FR" dirty="0" smtClean="0"/>
              <a:t> En 2016-2017, refus de créneaux pour les mini-gym et des conditions de pratique difficiles. </a:t>
            </a:r>
          </a:p>
          <a:p>
            <a:pPr lvl="1"/>
            <a:r>
              <a:rPr lang="fr-FR" dirty="0" smtClean="0"/>
              <a:t>En 2017- 2018 : ouverture de la section mini-gym, gros effort de </a:t>
            </a:r>
            <a:r>
              <a:rPr lang="fr-FR" dirty="0" err="1" smtClean="0"/>
              <a:t>com</a:t>
            </a:r>
            <a:r>
              <a:rPr lang="fr-FR" dirty="0" smtClean="0"/>
              <a:t> …</a:t>
            </a:r>
          </a:p>
          <a:p>
            <a:r>
              <a:rPr lang="fr-FR" dirty="0" smtClean="0"/>
              <a:t>Le nombre d’adhérents est très lié aux créneaux attribués.</a:t>
            </a:r>
          </a:p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’évolution des adhérent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graphicFrame>
        <p:nvGraphicFramePr>
          <p:cNvPr id="7" name="Tableau 6"/>
          <p:cNvGraphicFramePr>
            <a:graphicFrameLocks noGrp="1"/>
          </p:cNvGraphicFramePr>
          <p:nvPr/>
        </p:nvGraphicFramePr>
        <p:xfrm>
          <a:off x="603849" y="1017438"/>
          <a:ext cx="7927674" cy="26670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21279"/>
                <a:gridCol w="1321279"/>
                <a:gridCol w="1321279"/>
                <a:gridCol w="1321279"/>
                <a:gridCol w="1321279"/>
                <a:gridCol w="1321279"/>
              </a:tblGrid>
              <a:tr h="37084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2013-2014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2014-2015</a:t>
                      </a:r>
                    </a:p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2015-2016</a:t>
                      </a:r>
                    </a:p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2016-2017</a:t>
                      </a:r>
                    </a:p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2017_2018</a:t>
                      </a:r>
                      <a:r>
                        <a:rPr lang="fr-FR" baseline="0" dirty="0" smtClean="0"/>
                        <a:t> (Au 10/11)</a:t>
                      </a:r>
                      <a:endParaRPr lang="fr-FR" dirty="0" smtClean="0"/>
                    </a:p>
                    <a:p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Badmint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11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64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04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52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96</a:t>
                      </a:r>
                      <a:endParaRPr lang="fr-FR" dirty="0"/>
                    </a:p>
                  </a:txBody>
                  <a:tcPr>
                    <a:solidFill>
                      <a:schemeClr val="accent6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Gymnastique Masculin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87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76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52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47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80</a:t>
                      </a:r>
                      <a:endParaRPr lang="fr-FR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Trampolin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4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9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Total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318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54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75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99</a:t>
                      </a:r>
                      <a:endParaRPr lang="fr-FR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76</a:t>
                      </a:r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nalyse plus fine de l’évolution des adhérents du BADMINT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5/11/2017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16 11 2017</a:t>
            </a:r>
            <a:endParaRPr lang="fr-FR"/>
          </a:p>
        </p:txBody>
      </p:sp>
      <p:graphicFrame>
        <p:nvGraphicFramePr>
          <p:cNvPr id="7" name="Tableau 6"/>
          <p:cNvGraphicFramePr>
            <a:graphicFrameLocks noGrp="1"/>
          </p:cNvGraphicFramePr>
          <p:nvPr/>
        </p:nvGraphicFramePr>
        <p:xfrm>
          <a:off x="715990" y="1138690"/>
          <a:ext cx="7496356" cy="50278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874089"/>
                <a:gridCol w="1874089"/>
                <a:gridCol w="1874089"/>
                <a:gridCol w="1874089"/>
              </a:tblGrid>
              <a:tr h="524143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015-2016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016-2017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2017-2018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(au</a:t>
                      </a:r>
                      <a:r>
                        <a:rPr lang="fr-FR" sz="1200" baseline="0" dirty="0" smtClean="0"/>
                        <a:t> 10/11)</a:t>
                      </a:r>
                      <a:endParaRPr lang="fr-FR" sz="1200" dirty="0"/>
                    </a:p>
                  </a:txBody>
                  <a:tcPr/>
                </a:tc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joue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205 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241 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/>
                        <a:t>196 </a:t>
                      </a:r>
                      <a:endParaRPr lang="fr-FR"/>
                    </a:p>
                  </a:txBody>
                  <a:tcPr anchor="ctr"/>
                </a:tc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age moy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30.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0.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28.1 </a:t>
                      </a:r>
                    </a:p>
                  </a:txBody>
                  <a:tcPr anchor="ctr"/>
                </a:tc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 smtClean="0"/>
                        <a:t>hommes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15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67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127 </a:t>
                      </a:r>
                    </a:p>
                  </a:txBody>
                  <a:tcPr anchor="ctr"/>
                </a:tc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 smtClean="0"/>
                        <a:t>femmes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54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4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69 </a:t>
                      </a:r>
                    </a:p>
                  </a:txBody>
                  <a:tcPr anchor="ctr"/>
                </a:tc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 smtClean="0"/>
                        <a:t>compétiteurs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8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0 </a:t>
                      </a:r>
                    </a:p>
                  </a:txBody>
                  <a:tcPr anchor="ctr"/>
                </a:tc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loisi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125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5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6 </a:t>
                      </a:r>
                    </a:p>
                  </a:txBody>
                  <a:tcPr anchor="ctr"/>
                </a:tc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 smtClean="0"/>
                        <a:t>Classements</a:t>
                      </a:r>
                      <a:endParaRPr lang="fr-FR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/>
                </a:tc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Nat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 </a:t>
                      </a:r>
                    </a:p>
                  </a:txBody>
                  <a:tcPr anchor="ctr"/>
                </a:tc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Rég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 </a:t>
                      </a:r>
                    </a:p>
                  </a:txBody>
                  <a:tcPr anchor="ctr"/>
                </a:tc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Départ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1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9 </a:t>
                      </a:r>
                    </a:p>
                  </a:txBody>
                  <a:tcPr anchor="ctr"/>
                </a:tc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Promo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77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8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57 </a:t>
                      </a:r>
                    </a:p>
                  </a:txBody>
                  <a:tcPr anchor="ctr"/>
                </a:tc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N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4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18 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YUFkyrnkmabmPEvVCo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ZufsihhkypKvYeR6vZ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4qxR.hlUmMrttMgIm3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wE8b7NzEaP_71XKqK_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GL6tTUYUKK7KuID6Ew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Louqht3EmE7jitNuFp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Sestjr_EaC.i9ywwGd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7Dj.XxZU6npJypcbOR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MrO8dNv0yw3ro5g2_5BA"/>
</p:tagLst>
</file>

<file path=ppt/theme/theme1.xml><?xml version="1.0" encoding="utf-8"?>
<a:theme xmlns:a="http://schemas.openxmlformats.org/drawingml/2006/main" name="Modèle Présentation Klési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Thème Office">
  <a:themeElements>
    <a:clrScheme name="7_Thème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Thème Offic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7_Thèm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èle Présentation Klésia.potx</Template>
  <TotalTime>22177</TotalTime>
  <Words>1639</Words>
  <Application>Microsoft Macintosh PowerPoint</Application>
  <PresentationFormat>Affichage à l'écran (4:3)</PresentationFormat>
  <Paragraphs>492</Paragraphs>
  <Slides>39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3</vt:i4>
      </vt:variant>
      <vt:variant>
        <vt:lpstr>Titres des diapositives</vt:lpstr>
      </vt:variant>
      <vt:variant>
        <vt:i4>39</vt:i4>
      </vt:variant>
    </vt:vector>
  </HeadingPairs>
  <TitlesOfParts>
    <vt:vector size="44" baseType="lpstr">
      <vt:lpstr>Modèle Présentation Klésia</vt:lpstr>
      <vt:lpstr>7_Thème Office</vt:lpstr>
      <vt:lpstr>think-cell Slide</vt:lpstr>
      <vt:lpstr>Worksheet</vt:lpstr>
      <vt:lpstr>Feuille de calcul</vt:lpstr>
      <vt:lpstr>Assemblée  Générale Ordinaire </vt:lpstr>
      <vt:lpstr>Diapositive 2</vt:lpstr>
      <vt:lpstr>Diapositive 3</vt:lpstr>
      <vt:lpstr>Projet « SPORTS-AMBITIONS 2016-2020 » « DEVENEZ ACTEURS DE VOTRE ASSOCIATION » </vt:lpstr>
      <vt:lpstr>Fonctionnement GENERAL</vt:lpstr>
      <vt:lpstr>BADMINTON</vt:lpstr>
      <vt:lpstr>GYMNASTIQUE MASCULINE</vt:lpstr>
      <vt:lpstr>L’évolution des adhérents</vt:lpstr>
      <vt:lpstr>Analyse plus fine de l’évolution des adhérents du BADMINTON</vt:lpstr>
      <vt:lpstr>Analyse plus fine de l’évolution des adhérents du BADMINTON</vt:lpstr>
      <vt:lpstr>Une PRIORITE SUR LES JEUNES :  Nous avons gagné la 3ème étoile dans la Labellisation 2017</vt:lpstr>
      <vt:lpstr>RESULTATS 2016 – 2017 de gymnastique  masculine</vt:lpstr>
      <vt:lpstr>RESULTATS 2016 – 2017 de BADMINTON</vt:lpstr>
      <vt:lpstr> 3 équipes SENIOR - 1 Equipe VETERAN –  2 équipes en coupe du val d’oise</vt:lpstr>
      <vt:lpstr>Jeunes</vt:lpstr>
      <vt:lpstr>SYNTHESE 2016 - 2017</vt:lpstr>
      <vt:lpstr>Diapositive 17</vt:lpstr>
      <vt:lpstr>LES DEPENSES 2016 -2017            Budget : 69 230€  REALISEES : 75 242€</vt:lpstr>
      <vt:lpstr>LES DEPENSES 2016 -2017            Budget : 69 230€  REALISEES : 75 242€</vt:lpstr>
      <vt:lpstr>LES RECETTES 2016 -2017            Budget : 69 230€  REALISEES : 74 141€</vt:lpstr>
      <vt:lpstr>LES RECETTES 2016 -2017            Budget : 69 230€  REALISEES : 74 141€</vt:lpstr>
      <vt:lpstr>Rapport financier 2016 - 2017</vt:lpstr>
      <vt:lpstr>Diapositive 23</vt:lpstr>
      <vt:lpstr>Situation des MANDATS</vt:lpstr>
      <vt:lpstr>CANDIDATS pour la PERIODE  2017 - 2020</vt:lpstr>
      <vt:lpstr>Diapositive 26</vt:lpstr>
      <vt:lpstr>Diapositive 27</vt:lpstr>
      <vt:lpstr>Diapositive 28</vt:lpstr>
      <vt:lpstr>LES DEPENSES 2017-2018           Budget : 83 160€</vt:lpstr>
      <vt:lpstr>LES recettes 2017-2018           Budget : 83 160€</vt:lpstr>
      <vt:lpstr>Diapositive 31</vt:lpstr>
      <vt:lpstr>Diapositive 32</vt:lpstr>
      <vt:lpstr>Diapositive 33</vt:lpstr>
      <vt:lpstr>Partenariat avec « LA RESIDENCE »</vt:lpstr>
      <vt:lpstr>Diapositive 35</vt:lpstr>
      <vt:lpstr>Interrogations et Messages forts pour la municipalite</vt:lpstr>
      <vt:lpstr>Diapositive 37</vt:lpstr>
      <vt:lpstr>Un grand merci aux </vt:lpstr>
      <vt:lpstr>MERCI POUR VOTRE PARTICIPATION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nbriand</dc:creator>
  <cp:lastModifiedBy>philippe cerisier</cp:lastModifiedBy>
  <cp:revision>516</cp:revision>
  <cp:lastPrinted>2016-11-18T10:28:00Z</cp:lastPrinted>
  <dcterms:created xsi:type="dcterms:W3CDTF">2012-06-28T08:43:56Z</dcterms:created>
  <dcterms:modified xsi:type="dcterms:W3CDTF">2017-11-15T20:06:57Z</dcterms:modified>
</cp:coreProperties>
</file>